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3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4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5.xml" ContentType="application/vnd.openxmlformats-officedocument.presentationml.notesSlid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6.xml" ContentType="application/vnd.openxmlformats-officedocument.presentationml.notesSlide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11.xml" ContentType="application/vnd.openxmlformats-officedocument.presentationml.notesSlide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charts/chart8.xml" ContentType="application/vnd.openxmlformats-officedocument.drawingml.chart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notesSlides/notesSlide14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drawings/drawing2.xml" ContentType="application/vnd.openxmlformats-officedocument.drawingml.chartshapes+xml"/>
  <Override PartName="/ppt/notesSlides/notesSlide16.xml" ContentType="application/vnd.openxmlformats-officedocument.presentationml.notesSlide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56" r:id="rId1"/>
    <p:sldMasterId id="2147486601" r:id="rId2"/>
    <p:sldMasterId id="2147486631" r:id="rId3"/>
  </p:sldMasterIdLst>
  <p:notesMasterIdLst>
    <p:notesMasterId r:id="rId34"/>
  </p:notesMasterIdLst>
  <p:handoutMasterIdLst>
    <p:handoutMasterId r:id="rId35"/>
  </p:handoutMasterIdLst>
  <p:sldIdLst>
    <p:sldId id="2248" r:id="rId4"/>
    <p:sldId id="2249" r:id="rId5"/>
    <p:sldId id="2250" r:id="rId6"/>
    <p:sldId id="2281" r:id="rId7"/>
    <p:sldId id="2251" r:id="rId8"/>
    <p:sldId id="2252" r:id="rId9"/>
    <p:sldId id="2253" r:id="rId10"/>
    <p:sldId id="2254" r:id="rId11"/>
    <p:sldId id="2255" r:id="rId12"/>
    <p:sldId id="2271" r:id="rId13"/>
    <p:sldId id="2256" r:id="rId14"/>
    <p:sldId id="2269" r:id="rId15"/>
    <p:sldId id="2259" r:id="rId16"/>
    <p:sldId id="2260" r:id="rId17"/>
    <p:sldId id="2272" r:id="rId18"/>
    <p:sldId id="2273" r:id="rId19"/>
    <p:sldId id="2274" r:id="rId20"/>
    <p:sldId id="2265" r:id="rId21"/>
    <p:sldId id="2266" r:id="rId22"/>
    <p:sldId id="2268" r:id="rId23"/>
    <p:sldId id="2270" r:id="rId24"/>
    <p:sldId id="2275" r:id="rId25"/>
    <p:sldId id="2276" r:id="rId26"/>
    <p:sldId id="2277" r:id="rId27"/>
    <p:sldId id="2278" r:id="rId28"/>
    <p:sldId id="2279" r:id="rId29"/>
    <p:sldId id="2280" r:id="rId30"/>
    <p:sldId id="2282" r:id="rId31"/>
    <p:sldId id="2283" r:id="rId32"/>
    <p:sldId id="2267" r:id="rId33"/>
  </p:sldIdLst>
  <p:sldSz cx="9144000" cy="5143500" type="screen16x9"/>
  <p:notesSz cx="6858000" cy="9947275"/>
  <p:custDataLst>
    <p:tags r:id="rId3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395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09511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65057" indent="15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19023" indent="317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7773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33284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188823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44370" algn="l" defTabSz="91109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224_5" initials="k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0823"/>
    <a:srgbClr val="ADF9F7"/>
    <a:srgbClr val="8DF7F4"/>
    <a:srgbClr val="C7FBFA"/>
    <a:srgbClr val="FE0000"/>
    <a:srgbClr val="FFFF05"/>
    <a:srgbClr val="CC0066"/>
    <a:srgbClr val="660066"/>
    <a:srgbClr val="66FF99"/>
    <a:srgbClr val="FC646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30" autoAdjust="0"/>
    <p:restoredTop sz="97444" autoAdjust="0"/>
  </p:normalViewPr>
  <p:slideViewPr>
    <p:cSldViewPr snapToGrid="0">
      <p:cViewPr>
        <p:scale>
          <a:sx n="100" d="100"/>
          <a:sy n="100" d="100"/>
        </p:scale>
        <p:origin x="462" y="-18"/>
      </p:cViewPr>
      <p:guideLst>
        <p:guide orient="horz" pos="1620"/>
        <p:guide pos="2881"/>
      </p:guideLst>
    </p:cSldViewPr>
  </p:slideViewPr>
  <p:outlineViewPr>
    <p:cViewPr>
      <p:scale>
        <a:sx n="33" d="100"/>
        <a:sy n="33" d="100"/>
      </p:scale>
      <p:origin x="0" y="18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elyakovaMO\Desktop\&#1050;&#1085;&#1080;&#1075;&#1072;1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elyakovaMO\Desktop\&#1050;&#1085;&#1080;&#1075;&#1072;1.xlsx" TargetMode="Externa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BelyakovaMO\Desktop\&#1082;&#1087;&#1088;&#1077;&#1079;&#1077;&#1085;&#1090;&#1072;&#1094;&#1080;&#1080;.xlsx" TargetMode="External"/><Relationship Id="rId1" Type="http://schemas.openxmlformats.org/officeDocument/2006/relationships/image" Target="../media/image11.jpg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D:\&#1041;&#1077;&#1083;&#1103;&#1082;&#1086;&#1074;&#1072;%20&#1052;&#1054;\&#1082;&#1087;&#1088;&#1077;&#1079;&#1077;&#1085;&#1090;&#1072;&#1094;&#1080;&#1080;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\\IRK.SZN\dfs\pub\Stat\EXPRESS\express_inf.xls" TargetMode="Externa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BelyakovaMO\Desktop\&#1082;&#1087;&#1088;&#1077;&#1079;&#1077;&#1085;&#1090;&#1072;&#1094;&#1080;&#1080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elyakovaMO\Desktop\&#1082;&#1087;&#1088;&#1077;&#1079;&#1077;&#1085;&#1090;&#1072;&#1094;&#1080;&#1080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elyakovaMO\Desktop\&#1082;&#1087;&#1088;&#1077;&#1079;&#1077;&#1085;&#1090;&#1072;&#1094;&#1080;&#1080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elyakovaMO\Desktop\&#1082;&#1087;&#1088;&#1077;&#1079;&#1077;&#1085;&#1090;&#1072;&#1094;&#1080;&#1080;.xlsx" TargetMode="Externa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BelyakovaMO\Desktop\&#1082;&#1087;&#1088;&#1077;&#1079;&#1077;&#1085;&#1090;&#1072;&#1094;&#1080;&#1080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elyakovaMO\Desktop\&#1082;&#1087;&#1088;&#1077;&#1079;&#1077;&#1085;&#1090;&#1072;&#1094;&#1080;&#1080;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elyakovaMO\Desktop\&#1050;&#1085;&#1080;&#1075;&#1072;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Лист1!$K$11</c:f>
              <c:strCache>
                <c:ptCount val="1"/>
                <c:pt idx="0">
                  <c:v>ВВП</c:v>
                </c:pt>
              </c:strCache>
            </c:strRef>
          </c:tx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L$10:$P$10</c:f>
              <c:strCache>
                <c:ptCount val="5"/>
                <c:pt idx="0">
                  <c:v>2015 г.</c:v>
                </c:pt>
                <c:pt idx="1">
                  <c:v>I квартал</c:v>
                </c:pt>
                <c:pt idx="2">
                  <c:v>II квартал</c:v>
                </c:pt>
                <c:pt idx="3">
                  <c:v>III квартал</c:v>
                </c:pt>
                <c:pt idx="4">
                  <c:v>IV квартал</c:v>
                </c:pt>
              </c:strCache>
            </c:strRef>
          </c:cat>
          <c:val>
            <c:numRef>
              <c:f>Лист1!$L$11:$P$11</c:f>
              <c:numCache>
                <c:formatCode>General</c:formatCode>
                <c:ptCount val="5"/>
                <c:pt idx="0">
                  <c:v>96.3</c:v>
                </c:pt>
                <c:pt idx="1">
                  <c:v>97.2</c:v>
                </c:pt>
                <c:pt idx="2">
                  <c:v>95.5</c:v>
                </c:pt>
                <c:pt idx="3">
                  <c:v>96.3</c:v>
                </c:pt>
                <c:pt idx="4">
                  <c:v>96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7662336"/>
        <c:axId val="127987712"/>
      </c:barChart>
      <c:catAx>
        <c:axId val="12766233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7987712"/>
        <c:crosses val="autoZero"/>
        <c:auto val="1"/>
        <c:lblAlgn val="ctr"/>
        <c:lblOffset val="100"/>
        <c:noMultiLvlLbl val="0"/>
      </c:catAx>
      <c:valAx>
        <c:axId val="12798771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27662336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356230575780538"/>
          <c:y val="4.282239099141958E-2"/>
          <c:w val="0.82594801172865939"/>
          <c:h val="0.5623858171750586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2">
                <a:lumMod val="50000"/>
              </a:schemeClr>
            </a:solidFill>
          </c:spPr>
          <c:invertIfNegative val="0"/>
          <c:cat>
            <c:strRef>
              <c:f>Лист1!$C$164:$C$175</c:f>
              <c:strCache>
                <c:ptCount val="12"/>
                <c:pt idx="0">
                  <c:v>Иркутская область</c:v>
                </c:pt>
                <c:pt idx="1">
                  <c:v>Алтайский край</c:v>
                </c:pt>
                <c:pt idx="2">
                  <c:v>Забайкальский край</c:v>
                </c:pt>
                <c:pt idx="3">
                  <c:v>Красноярский край</c:v>
                </c:pt>
                <c:pt idx="4">
                  <c:v>Кемеровская область</c:v>
                </c:pt>
                <c:pt idx="5">
                  <c:v>Новосибирская область</c:v>
                </c:pt>
                <c:pt idx="6">
                  <c:v>Омская область</c:v>
                </c:pt>
                <c:pt idx="7">
                  <c:v>Томская область</c:v>
                </c:pt>
                <c:pt idx="8">
                  <c:v>Республика Алтай</c:v>
                </c:pt>
                <c:pt idx="9">
                  <c:v>Республика Бурятия</c:v>
                </c:pt>
                <c:pt idx="10">
                  <c:v>Республика Тыва</c:v>
                </c:pt>
                <c:pt idx="11">
                  <c:v>Республика Хакасия</c:v>
                </c:pt>
              </c:strCache>
            </c:strRef>
          </c:cat>
          <c:val>
            <c:numRef>
              <c:f>Лист1!$D$164:$D$175</c:f>
              <c:numCache>
                <c:formatCode>General</c:formatCode>
                <c:ptCount val="12"/>
                <c:pt idx="0">
                  <c:v>75955.399999999994</c:v>
                </c:pt>
                <c:pt idx="1">
                  <c:v>35758.9</c:v>
                </c:pt>
                <c:pt idx="2">
                  <c:v>17685.5</c:v>
                </c:pt>
                <c:pt idx="3">
                  <c:v>138000.5</c:v>
                </c:pt>
                <c:pt idx="4">
                  <c:v>114996.7</c:v>
                </c:pt>
                <c:pt idx="5">
                  <c:v>36775.5</c:v>
                </c:pt>
                <c:pt idx="6">
                  <c:v>52988.3</c:v>
                </c:pt>
                <c:pt idx="7">
                  <c:v>36567.4</c:v>
                </c:pt>
                <c:pt idx="8">
                  <c:v>6103.2</c:v>
                </c:pt>
                <c:pt idx="9">
                  <c:v>18357.5</c:v>
                </c:pt>
                <c:pt idx="10">
                  <c:v>3280.9</c:v>
                </c:pt>
                <c:pt idx="11">
                  <c:v>11886.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321024"/>
        <c:axId val="130322816"/>
      </c:barChart>
      <c:lineChart>
        <c:grouping val="standard"/>
        <c:varyColors val="0"/>
        <c:ser>
          <c:idx val="1"/>
          <c:order val="1"/>
          <c:tx>
            <c:strRef>
              <c:f>Лист1!$C$164:$C$175</c:f>
              <c:strCache>
                <c:ptCount val="1"/>
                <c:pt idx="0">
                  <c:v>Иркутская область Алтайский край Забайкальский край Красноярский край Кемеровская область Новосибирская область Омская область Томская область Республика Алтай Республика Бурятия Республика Тыва Республика Хакасия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diamond"/>
            <c:size val="9"/>
            <c:spPr>
              <a:solidFill>
                <a:srgbClr val="FF0000"/>
              </a:solidFill>
            </c:spPr>
          </c:marker>
          <c:dLbls>
            <c:dLbl>
              <c:idx val="0"/>
              <c:layout>
                <c:manualLayout>
                  <c:x val="-2.0423051215338103E-2"/>
                  <c:y val="-4.25880535737593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5.3295406137060096E-2"/>
                  <c:y val="-5.9806684164479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7200670596803669E-2"/>
                  <c:y val="3.9032440944881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0.11169284467713785"/>
                  <c:y val="-1.42222222222222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0942408376963352E-2"/>
                  <c:y val="-5.33333333333333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7591623036649213E-2"/>
                  <c:y val="-5.33333333333333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8.0233415488828258E-2"/>
                  <c:y val="-2.620803296846729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3.2093366195531353E-2"/>
                  <c:y val="-4.914006181587618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9.1590188858969423E-3"/>
                  <c:y val="-1.6376985306491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0.10755713127482101"/>
                  <c:y val="2.32116185476815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3.2093366195531305E-2"/>
                  <c:y val="3.93120494527009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7.1580545205383428E-2"/>
                  <c:y val="-6.306267678601018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E$164:$E$175</c:f>
              <c:numCache>
                <c:formatCode>General</c:formatCode>
                <c:ptCount val="12"/>
                <c:pt idx="0">
                  <c:v>31452.799999999999</c:v>
                </c:pt>
                <c:pt idx="1">
                  <c:v>14994.5</c:v>
                </c:pt>
                <c:pt idx="2">
                  <c:v>16262.5</c:v>
                </c:pt>
                <c:pt idx="3">
                  <c:v>48272.2</c:v>
                </c:pt>
                <c:pt idx="4">
                  <c:v>42200.6</c:v>
                </c:pt>
                <c:pt idx="5">
                  <c:v>13388.5</c:v>
                </c:pt>
                <c:pt idx="6">
                  <c:v>26786.1</c:v>
                </c:pt>
                <c:pt idx="7">
                  <c:v>34035.199999999997</c:v>
                </c:pt>
                <c:pt idx="8">
                  <c:v>28559.7</c:v>
                </c:pt>
                <c:pt idx="9">
                  <c:v>18760.900000000001</c:v>
                </c:pt>
                <c:pt idx="10">
                  <c:v>10455.4</c:v>
                </c:pt>
                <c:pt idx="11">
                  <c:v>22185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325888"/>
        <c:axId val="130324352"/>
      </c:lineChart>
      <c:catAx>
        <c:axId val="1303210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30322816"/>
        <c:crosses val="autoZero"/>
        <c:auto val="1"/>
        <c:lblAlgn val="ctr"/>
        <c:lblOffset val="100"/>
        <c:noMultiLvlLbl val="0"/>
      </c:catAx>
      <c:valAx>
        <c:axId val="13032281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30321024"/>
        <c:crosses val="autoZero"/>
        <c:crossBetween val="between"/>
      </c:valAx>
      <c:valAx>
        <c:axId val="130324352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130325888"/>
        <c:crosses val="max"/>
        <c:crossBetween val="between"/>
      </c:valAx>
      <c:catAx>
        <c:axId val="130325888"/>
        <c:scaling>
          <c:orientation val="minMax"/>
        </c:scaling>
        <c:delete val="1"/>
        <c:axPos val="b"/>
        <c:majorTickMark val="out"/>
        <c:minorTickMark val="none"/>
        <c:tickLblPos val="nextTo"/>
        <c:crossAx val="130324352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0E0FE"/>
            </a:solidFill>
          </c:spPr>
          <c:invertIfNegative val="0"/>
          <c:cat>
            <c:strRef>
              <c:f>Лист1!$B$197:$B$208</c:f>
              <c:strCache>
                <c:ptCount val="12"/>
                <c:pt idx="0">
                  <c:v>Иркутская область</c:v>
                </c:pt>
                <c:pt idx="1">
                  <c:v>Алтайский край</c:v>
                </c:pt>
                <c:pt idx="2">
                  <c:v>Забайкальский край</c:v>
                </c:pt>
                <c:pt idx="3">
                  <c:v>Красноярский край</c:v>
                </c:pt>
                <c:pt idx="4">
                  <c:v>Кемеровская область</c:v>
                </c:pt>
                <c:pt idx="5">
                  <c:v>Новосибирская область</c:v>
                </c:pt>
                <c:pt idx="6">
                  <c:v>Омская область</c:v>
                </c:pt>
                <c:pt idx="7">
                  <c:v>Томская область</c:v>
                </c:pt>
                <c:pt idx="8">
                  <c:v>Республика Алтай</c:v>
                </c:pt>
                <c:pt idx="9">
                  <c:v>Республика Бурятия</c:v>
                </c:pt>
                <c:pt idx="10">
                  <c:v>Республика Тыва</c:v>
                </c:pt>
                <c:pt idx="11">
                  <c:v>Республика Хакасия</c:v>
                </c:pt>
              </c:strCache>
            </c:strRef>
          </c:cat>
          <c:val>
            <c:numRef>
              <c:f>Лист1!$C$197:$C$208</c:f>
              <c:numCache>
                <c:formatCode>General</c:formatCode>
                <c:ptCount val="12"/>
                <c:pt idx="0">
                  <c:v>963.7</c:v>
                </c:pt>
                <c:pt idx="1">
                  <c:v>878.9</c:v>
                </c:pt>
                <c:pt idx="2">
                  <c:v>215.1</c:v>
                </c:pt>
                <c:pt idx="3">
                  <c:v>1302.4000000000001</c:v>
                </c:pt>
                <c:pt idx="4">
                  <c:v>1002</c:v>
                </c:pt>
                <c:pt idx="5">
                  <c:v>2585</c:v>
                </c:pt>
                <c:pt idx="6">
                  <c:v>790.2</c:v>
                </c:pt>
                <c:pt idx="7">
                  <c:v>699.1</c:v>
                </c:pt>
                <c:pt idx="8">
                  <c:v>113.6</c:v>
                </c:pt>
                <c:pt idx="9">
                  <c:v>415.4</c:v>
                </c:pt>
                <c:pt idx="10">
                  <c:v>103.6</c:v>
                </c:pt>
                <c:pt idx="11">
                  <c:v>300.6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9094016"/>
        <c:axId val="129095552"/>
      </c:barChart>
      <c:lineChart>
        <c:grouping val="standard"/>
        <c:varyColors val="0"/>
        <c:ser>
          <c:idx val="1"/>
          <c:order val="1"/>
          <c:tx>
            <c:strRef>
              <c:f>Лист1!$B$197:$B$208</c:f>
              <c:strCache>
                <c:ptCount val="1"/>
                <c:pt idx="0">
                  <c:v>Иркутская область Алтайский край Забайкальский край Красноярский край Кемеровская область Новосибирская область Омская область Томская область Республика Алтай Республика Бурятия Республика Тыва Республика Хакасия</c:v>
                </c:pt>
              </c:strCache>
            </c:strRef>
          </c:tx>
          <c:spPr>
            <a:ln>
              <a:solidFill>
                <a:schemeClr val="accent2">
                  <a:lumMod val="50000"/>
                </a:schemeClr>
              </a:solidFill>
            </a:ln>
          </c:spPr>
          <c:marker>
            <c:symbol val="circle"/>
            <c:size val="8"/>
            <c:spPr>
              <a:solidFill>
                <a:schemeClr val="accent2">
                  <a:lumMod val="50000"/>
                </a:schemeClr>
              </a:solidFill>
            </c:spPr>
          </c:marker>
          <c:dLbls>
            <c:dLbl>
              <c:idx val="0"/>
              <c:layout>
                <c:manualLayout>
                  <c:x val="-3.0894308943089439E-2"/>
                  <c:y val="-3.99800037020853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1.6260162601626032E-2"/>
                  <c:y val="-3.598200333187680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4.0650534536841434E-2"/>
                  <c:y val="-5.19740048127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3.4146341463414637E-2"/>
                  <c:y val="-3.99800037020853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8780487804878049E-3"/>
                  <c:y val="3.19840029616683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8.130081300813009E-3"/>
                  <c:y val="-7.99600074041707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8.130081300813009E-3"/>
                  <c:y val="2.3988002221251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2764227642276424E-2"/>
                  <c:y val="-4.797600444250246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4.5528455284552849E-2"/>
                  <c:y val="4.39780040722939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7886178861788678E-2"/>
                  <c:y val="-5.19740048127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4.8780487804878647E-3"/>
                  <c:y val="4.39780040722939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0894308943089432E-2"/>
                  <c:y val="-5.19740048127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D$197:$D$208</c:f>
              <c:numCache>
                <c:formatCode>General</c:formatCode>
                <c:ptCount val="12"/>
                <c:pt idx="0">
                  <c:v>399.1</c:v>
                </c:pt>
                <c:pt idx="1">
                  <c:v>368.5</c:v>
                </c:pt>
                <c:pt idx="2">
                  <c:v>197.8</c:v>
                </c:pt>
                <c:pt idx="3">
                  <c:v>455.6</c:v>
                </c:pt>
                <c:pt idx="4">
                  <c:v>367.7</c:v>
                </c:pt>
                <c:pt idx="5">
                  <c:v>941.1</c:v>
                </c:pt>
                <c:pt idx="6">
                  <c:v>399.5</c:v>
                </c:pt>
                <c:pt idx="7">
                  <c:v>650.70000000000005</c:v>
                </c:pt>
                <c:pt idx="8">
                  <c:v>531.6</c:v>
                </c:pt>
                <c:pt idx="9">
                  <c:v>424.5</c:v>
                </c:pt>
                <c:pt idx="10">
                  <c:v>330.1</c:v>
                </c:pt>
                <c:pt idx="11">
                  <c:v>5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430080"/>
        <c:axId val="129097088"/>
      </c:lineChart>
      <c:catAx>
        <c:axId val="12909401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5400000" vert="horz"/>
          <a:lstStyle/>
          <a:p>
            <a:pPr>
              <a:defRPr b="1"/>
            </a:pPr>
            <a:endParaRPr lang="ru-RU"/>
          </a:p>
        </c:txPr>
        <c:crossAx val="129095552"/>
        <c:crosses val="autoZero"/>
        <c:auto val="1"/>
        <c:lblAlgn val="ctr"/>
        <c:lblOffset val="100"/>
        <c:noMultiLvlLbl val="0"/>
      </c:catAx>
      <c:valAx>
        <c:axId val="12909555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29094016"/>
        <c:crosses val="autoZero"/>
        <c:crossBetween val="between"/>
      </c:valAx>
      <c:valAx>
        <c:axId val="12909708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130430080"/>
        <c:crosses val="max"/>
        <c:crossBetween val="between"/>
      </c:valAx>
      <c:catAx>
        <c:axId val="130430080"/>
        <c:scaling>
          <c:orientation val="minMax"/>
        </c:scaling>
        <c:delete val="1"/>
        <c:axPos val="b"/>
        <c:majorTickMark val="out"/>
        <c:minorTickMark val="none"/>
        <c:tickLblPos val="nextTo"/>
        <c:crossAx val="129097088"/>
        <c:crosses val="autoZero"/>
        <c:auto val="1"/>
        <c:lblAlgn val="ctr"/>
        <c:lblOffset val="100"/>
        <c:noMultiLvlLbl val="0"/>
      </c:catAx>
    </c:plotArea>
    <c:plotVisOnly val="1"/>
    <c:dispBlanksAs val="gap"/>
    <c:showDLblsOverMax val="0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9"/>
    </mc:Choice>
    <mc:Fallback>
      <c:style val="39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803805774278215E-2"/>
          <c:y val="6.4548653388661351E-2"/>
          <c:w val="0.80699311023622045"/>
          <c:h val="0.67145084851936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C$2</c:f>
              <c:strCache>
                <c:ptCount val="1"/>
                <c:pt idx="0">
                  <c:v>2014</c:v>
                </c:pt>
              </c:strCache>
            </c:strRef>
          </c:tx>
          <c:spPr>
            <a:solidFill>
              <a:srgbClr val="09C920"/>
            </a:solidFill>
          </c:spPr>
          <c:invertIfNegative val="0"/>
          <c:dLbls>
            <c:dLbl>
              <c:idx val="0"/>
              <c:layout>
                <c:manualLayout>
                  <c:x val="2.045990152202231E-2"/>
                  <c:y val="0.25906911036563929"/>
                </c:manualLayout>
              </c:layout>
              <c:tx>
                <c:rich>
                  <a:bodyPr/>
                  <a:lstStyle/>
                  <a:p>
                    <a:r>
                      <a:rPr lang="en-US" sz="1600" b="1" dirty="0">
                        <a:solidFill>
                          <a:schemeClr val="tx1"/>
                        </a:solidFill>
                      </a:rPr>
                      <a:t>-35</a:t>
                    </a:r>
                    <a:r>
                      <a:rPr lang="ru-RU" sz="1600" b="1" dirty="0">
                        <a:solidFill>
                          <a:schemeClr val="tx1"/>
                        </a:solidFill>
                      </a:rPr>
                      <a:t>,7%</a:t>
                    </a:r>
                    <a:endParaRPr lang="en-US" sz="16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2.2543213257217323E-2"/>
                  <c:y val="0.20478812038556193"/>
                </c:manualLayout>
              </c:layout>
              <c:tx>
                <c:rich>
                  <a:bodyPr/>
                  <a:lstStyle/>
                  <a:p>
                    <a:r>
                      <a:rPr lang="ru-RU" sz="1600" b="1">
                        <a:solidFill>
                          <a:schemeClr val="tx1"/>
                        </a:solidFill>
                      </a:rPr>
                      <a:t>-7,9%</a:t>
                    </a:r>
                    <a:endParaRPr lang="en-US" sz="180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2.1206690668305384E-2"/>
                  <c:y val="8.4477405733622404E-2"/>
                </c:manualLayout>
              </c:layout>
              <c:tx>
                <c:rich>
                  <a:bodyPr/>
                  <a:lstStyle/>
                  <a:p>
                    <a:r>
                      <a:rPr lang="ru-RU" sz="1600" b="1">
                        <a:solidFill>
                          <a:schemeClr val="tx1"/>
                        </a:solidFill>
                      </a:rPr>
                      <a:t>-2,7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2.5373433300837817E-2"/>
                  <c:y val="0.19654278792628618"/>
                </c:manualLayout>
              </c:layout>
              <c:tx>
                <c:rich>
                  <a:bodyPr/>
                  <a:lstStyle/>
                  <a:p>
                    <a:r>
                      <a:rPr lang="ru-RU" sz="1600" b="1">
                        <a:solidFill>
                          <a:schemeClr val="tx1"/>
                        </a:solidFill>
                      </a:rPr>
                      <a:t>-0,4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2.2916667411430055E-2"/>
                  <c:y val="8.0443205789288638E-2"/>
                </c:manualLayout>
              </c:layout>
              <c:tx>
                <c:rich>
                  <a:bodyPr/>
                  <a:lstStyle/>
                  <a:p>
                    <a:r>
                      <a:rPr lang="ru-RU" sz="1600" b="1">
                        <a:solidFill>
                          <a:schemeClr val="tx1"/>
                        </a:solidFill>
                      </a:rPr>
                      <a:t>+2,2%</a:t>
                    </a:r>
                    <a:endParaRPr lang="en-US" b="1">
                      <a:solidFill>
                        <a:srgbClr val="00B05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2.1403308203229238E-2"/>
                  <c:y val="0.29532220496894412"/>
                </c:manualLayout>
              </c:layout>
              <c:tx>
                <c:rich>
                  <a:bodyPr/>
                  <a:lstStyle/>
                  <a:p>
                    <a:r>
                      <a:rPr lang="ru-RU" sz="1600" b="1">
                        <a:solidFill>
                          <a:schemeClr val="tx1"/>
                        </a:solidFill>
                      </a:rPr>
                      <a:t>+2.5%</a:t>
                    </a:r>
                  </a:p>
                  <a:p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600" b="1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3:$B$8</c:f>
              <c:strCache>
                <c:ptCount val="6"/>
                <c:pt idx="0">
                  <c:v>Зерно</c:v>
                </c:pt>
                <c:pt idx="1">
                  <c:v>Картофель</c:v>
                </c:pt>
                <c:pt idx="2">
                  <c:v>Овощи</c:v>
                </c:pt>
                <c:pt idx="3">
                  <c:v>Молоко</c:v>
                </c:pt>
                <c:pt idx="4">
                  <c:v>Мясо</c:v>
                </c:pt>
                <c:pt idx="5">
                  <c:v>Яйцо</c:v>
                </c:pt>
              </c:strCache>
            </c:strRef>
          </c:cat>
          <c:val>
            <c:numRef>
              <c:f>Лист1!$C$3:$C$8</c:f>
              <c:numCache>
                <c:formatCode>General</c:formatCode>
                <c:ptCount val="6"/>
                <c:pt idx="0">
                  <c:v>857.5</c:v>
                </c:pt>
                <c:pt idx="1">
                  <c:v>600.29999999999995</c:v>
                </c:pt>
                <c:pt idx="2">
                  <c:v>152.9</c:v>
                </c:pt>
                <c:pt idx="3">
                  <c:v>467.8</c:v>
                </c:pt>
                <c:pt idx="4">
                  <c:v>150.9</c:v>
                </c:pt>
                <c:pt idx="5">
                  <c:v>969.6</c:v>
                </c:pt>
              </c:numCache>
            </c:numRef>
          </c:val>
        </c:ser>
        <c:ser>
          <c:idx val="1"/>
          <c:order val="1"/>
          <c:tx>
            <c:strRef>
              <c:f>Лист1!$D$2</c:f>
              <c:strCache>
                <c:ptCount val="1"/>
                <c:pt idx="0">
                  <c:v>2015</c:v>
                </c:pt>
              </c:strCache>
            </c:strRef>
          </c:tx>
          <c:spPr>
            <a:solidFill>
              <a:srgbClr val="FFFF00"/>
            </a:solidFill>
          </c:spPr>
          <c:invertIfNegative val="0"/>
          <c:cat>
            <c:strRef>
              <c:f>Лист1!$B$3:$B$8</c:f>
              <c:strCache>
                <c:ptCount val="6"/>
                <c:pt idx="0">
                  <c:v>Зерно</c:v>
                </c:pt>
                <c:pt idx="1">
                  <c:v>Картофель</c:v>
                </c:pt>
                <c:pt idx="2">
                  <c:v>Овощи</c:v>
                </c:pt>
                <c:pt idx="3">
                  <c:v>Молоко</c:v>
                </c:pt>
                <c:pt idx="4">
                  <c:v>Мясо</c:v>
                </c:pt>
                <c:pt idx="5">
                  <c:v>Яйцо</c:v>
                </c:pt>
              </c:strCache>
            </c:strRef>
          </c:cat>
          <c:val>
            <c:numRef>
              <c:f>Лист1!$D$3:$D$8</c:f>
              <c:numCache>
                <c:formatCode>General</c:formatCode>
                <c:ptCount val="6"/>
                <c:pt idx="0">
                  <c:v>551.70000000000005</c:v>
                </c:pt>
                <c:pt idx="1">
                  <c:v>553.1</c:v>
                </c:pt>
                <c:pt idx="2">
                  <c:v>148.80000000000001</c:v>
                </c:pt>
                <c:pt idx="3">
                  <c:v>466.1</c:v>
                </c:pt>
                <c:pt idx="4">
                  <c:v>154.19999999999999</c:v>
                </c:pt>
                <c:pt idx="5">
                  <c:v>993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478848"/>
        <c:axId val="130480384"/>
      </c:barChart>
      <c:catAx>
        <c:axId val="1304788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0" vert="horz"/>
          <a:lstStyle/>
          <a:p>
            <a:pPr>
              <a:defRPr sz="1200" b="1"/>
            </a:pPr>
            <a:endParaRPr lang="ru-RU"/>
          </a:p>
        </c:txPr>
        <c:crossAx val="130480384"/>
        <c:crosses val="autoZero"/>
        <c:auto val="1"/>
        <c:lblAlgn val="ctr"/>
        <c:lblOffset val="100"/>
        <c:noMultiLvlLbl val="0"/>
      </c:catAx>
      <c:valAx>
        <c:axId val="130480384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30478848"/>
        <c:crosses val="autoZero"/>
        <c:crossBetween val="between"/>
      </c:valAx>
      <c:spPr>
        <a:blipFill>
          <a:blip xmlns:r="http://schemas.openxmlformats.org/officeDocument/2006/relationships" r:embed="rId1"/>
          <a:stretch>
            <a:fillRect/>
          </a:stretch>
        </a:blipFill>
        <a:ln>
          <a:noFill/>
        </a:ln>
      </c:spPr>
    </c:plotArea>
    <c:legend>
      <c:legendPos val="r"/>
      <c:layout>
        <c:manualLayout>
          <c:xMode val="edge"/>
          <c:yMode val="edge"/>
          <c:x val="0.91934176739144657"/>
          <c:y val="0.24982169408472987"/>
          <c:w val="8.065823260855344E-2"/>
          <c:h val="0.34629022984296259"/>
        </c:manualLayout>
      </c:layout>
      <c:overlay val="0"/>
      <c:txPr>
        <a:bodyPr/>
        <a:lstStyle/>
        <a:p>
          <a:pPr>
            <a:defRPr sz="1600" b="1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</c:spPr>
  <c:externalData r:id="rId2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C$220:$C$222</c:f>
              <c:strCache>
                <c:ptCount val="1"/>
                <c:pt idx="0">
                  <c:v>Центнеров кормовых единиц</c:v>
                </c:pt>
              </c:strCache>
            </c:strRef>
          </c:tx>
          <c:spPr>
            <a:gradFill>
              <a:gsLst>
                <a:gs pos="0">
                  <a:srgbClr val="03D4A8"/>
                </a:gs>
                <a:gs pos="25000">
                  <a:srgbClr val="21D6E0"/>
                </a:gs>
                <a:gs pos="75000">
                  <a:srgbClr val="0087E6"/>
                </a:gs>
                <a:gs pos="100000">
                  <a:srgbClr val="005CBF"/>
                </a:gs>
              </a:gsLst>
              <a:lin ang="5400000" scaled="0"/>
            </a:gradFill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</c:spPr>
          </c:dPt>
          <c:dLbls>
            <c:txPr>
              <a:bodyPr/>
              <a:lstStyle/>
              <a:p>
                <a:pPr>
                  <a:defRPr sz="11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223:$B$234</c:f>
              <c:strCache>
                <c:ptCount val="12"/>
                <c:pt idx="0">
                  <c:v>Иркутская область</c:v>
                </c:pt>
                <c:pt idx="1">
                  <c:v>Алтайский край</c:v>
                </c:pt>
                <c:pt idx="2">
                  <c:v>Забайкальский край</c:v>
                </c:pt>
                <c:pt idx="3">
                  <c:v>Красноярский край</c:v>
                </c:pt>
                <c:pt idx="4">
                  <c:v>Кемеровская область</c:v>
                </c:pt>
                <c:pt idx="5">
                  <c:v>Новосибирская область</c:v>
                </c:pt>
                <c:pt idx="6">
                  <c:v>Омская область</c:v>
                </c:pt>
                <c:pt idx="7">
                  <c:v>Томская область</c:v>
                </c:pt>
                <c:pt idx="8">
                  <c:v>Республика Алтай</c:v>
                </c:pt>
                <c:pt idx="9">
                  <c:v>Республика Бурятия</c:v>
                </c:pt>
                <c:pt idx="10">
                  <c:v>Республика Тыва</c:v>
                </c:pt>
                <c:pt idx="11">
                  <c:v>Республика Хакасия</c:v>
                </c:pt>
              </c:strCache>
            </c:strRef>
          </c:cat>
          <c:val>
            <c:numRef>
              <c:f>Лист1!$C$223:$C$234</c:f>
              <c:numCache>
                <c:formatCode>General</c:formatCode>
                <c:ptCount val="12"/>
                <c:pt idx="0">
                  <c:v>6</c:v>
                </c:pt>
                <c:pt idx="1">
                  <c:v>8.4</c:v>
                </c:pt>
                <c:pt idx="2">
                  <c:v>5.0999999999999996</c:v>
                </c:pt>
                <c:pt idx="3">
                  <c:v>10.9</c:v>
                </c:pt>
                <c:pt idx="4">
                  <c:v>3.6</c:v>
                </c:pt>
                <c:pt idx="5">
                  <c:v>8</c:v>
                </c:pt>
                <c:pt idx="6">
                  <c:v>9.9</c:v>
                </c:pt>
                <c:pt idx="7">
                  <c:v>3.4</c:v>
                </c:pt>
                <c:pt idx="8">
                  <c:v>3.8</c:v>
                </c:pt>
                <c:pt idx="9">
                  <c:v>1.4</c:v>
                </c:pt>
                <c:pt idx="10">
                  <c:v>0.4</c:v>
                </c:pt>
                <c:pt idx="11">
                  <c:v>1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30555904"/>
        <c:axId val="130557440"/>
      </c:barChart>
      <c:catAx>
        <c:axId val="130555904"/>
        <c:scaling>
          <c:orientation val="minMax"/>
        </c:scaling>
        <c:delete val="0"/>
        <c:axPos val="l"/>
        <c:majorTickMark val="out"/>
        <c:minorTickMark val="none"/>
        <c:tickLblPos val="nextTo"/>
        <c:crossAx val="130557440"/>
        <c:crosses val="autoZero"/>
        <c:auto val="1"/>
        <c:lblAlgn val="ctr"/>
        <c:lblOffset val="100"/>
        <c:noMultiLvlLbl val="0"/>
      </c:catAx>
      <c:valAx>
        <c:axId val="130557440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130555904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418343746635646E-2"/>
          <c:y val="4.4029969822054177E-2"/>
          <c:w val="0.85942920758500896"/>
          <c:h val="0.796128728096363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Динамика!$B$157</c:f>
              <c:strCache>
                <c:ptCount val="1"/>
                <c:pt idx="0">
                  <c:v>Незанятые</c:v>
                </c:pt>
              </c:strCache>
            </c:strRef>
          </c:tx>
          <c:spPr>
            <a:gradFill rotWithShape="0">
              <a:gsLst>
                <a:gs pos="0">
                  <a:srgbClr val="C0C0FF"/>
                </a:gs>
                <a:gs pos="100000">
                  <a:srgbClr val="C0C0FF">
                    <a:gamma/>
                    <a:tint val="39216"/>
                    <a:invGamma/>
                  </a:srgbClr>
                </a:gs>
              </a:gsLst>
              <a:path path="rect">
                <a:fillToRect r="100000" b="100000"/>
              </a:path>
            </a:gradFill>
            <a:ln w="25400">
              <a:noFill/>
            </a:ln>
          </c:spPr>
          <c:invertIfNegative val="0"/>
          <c:dLbls>
            <c:dLbl>
              <c:idx val="4"/>
              <c:layout>
                <c:manualLayout>
                  <c:x val="1.9304050962694564E-3"/>
                  <c:y val="-1.065891391542190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инамика!$A$158:$A$172</c:f>
              <c:numCache>
                <c:formatCode>dd/mm/yyyy</c:formatCode>
                <c:ptCount val="10"/>
                <c:pt idx="0">
                  <c:v>39448</c:v>
                </c:pt>
                <c:pt idx="1">
                  <c:v>39814</c:v>
                </c:pt>
                <c:pt idx="2">
                  <c:v>40179</c:v>
                </c:pt>
                <c:pt idx="3">
                  <c:v>40544</c:v>
                </c:pt>
                <c:pt idx="4">
                  <c:v>40909</c:v>
                </c:pt>
                <c:pt idx="5">
                  <c:v>41275</c:v>
                </c:pt>
                <c:pt idx="6">
                  <c:v>41640</c:v>
                </c:pt>
                <c:pt idx="7">
                  <c:v>42005</c:v>
                </c:pt>
                <c:pt idx="8">
                  <c:v>42370</c:v>
                </c:pt>
                <c:pt idx="9">
                  <c:v>42401</c:v>
                </c:pt>
              </c:numCache>
            </c:numRef>
          </c:cat>
          <c:val>
            <c:numRef>
              <c:f>Динамика!$B$158:$B$172</c:f>
              <c:numCache>
                <c:formatCode>General</c:formatCode>
                <c:ptCount val="10"/>
                <c:pt idx="0">
                  <c:v>38525</c:v>
                </c:pt>
                <c:pt idx="1">
                  <c:v>34205</c:v>
                </c:pt>
                <c:pt idx="2">
                  <c:v>48128</c:v>
                </c:pt>
                <c:pt idx="3">
                  <c:v>37224</c:v>
                </c:pt>
                <c:pt idx="4">
                  <c:v>30390</c:v>
                </c:pt>
                <c:pt idx="5">
                  <c:v>26420</c:v>
                </c:pt>
                <c:pt idx="6">
                  <c:v>24494</c:v>
                </c:pt>
                <c:pt idx="7">
                  <c:v>21495</c:v>
                </c:pt>
                <c:pt idx="8">
                  <c:v>22385</c:v>
                </c:pt>
                <c:pt idx="9">
                  <c:v>23193</c:v>
                </c:pt>
              </c:numCache>
            </c:numRef>
          </c:val>
        </c:ser>
        <c:ser>
          <c:idx val="1"/>
          <c:order val="1"/>
          <c:tx>
            <c:strRef>
              <c:f>Динамика!$C$157</c:f>
              <c:strCache>
                <c:ptCount val="1"/>
                <c:pt idx="0">
                  <c:v>Безработные</c:v>
                </c:pt>
              </c:strCache>
            </c:strRef>
          </c:tx>
          <c:invertIfNegative val="0"/>
          <c:dLbls>
            <c:dLbl>
              <c:idx val="0"/>
              <c:layout>
                <c:manualLayout>
                  <c:x val="1.6220600162206045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9.900990099009949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3.7087148144040812E-3"/>
                  <c:y val="1.2108660114756127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6.4882400648824268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ru-RU" b="1" i="1">
                        <a:solidFill>
                          <a:srgbClr val="C80823"/>
                        </a:solidFill>
                      </a:rPr>
                      <a:t>16120</a:t>
                    </a:r>
                    <a:endParaRPr lang="ru-RU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1.2646065227248067E-2"/>
                  <c:y val="1.135965958800604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1" u="none" strike="noStrike" baseline="0">
                    <a:solidFill>
                      <a:srgbClr val="C80823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инамика!$A$158:$A$172</c:f>
              <c:numCache>
                <c:formatCode>dd/mm/yyyy</c:formatCode>
                <c:ptCount val="10"/>
                <c:pt idx="0">
                  <c:v>39448</c:v>
                </c:pt>
                <c:pt idx="1">
                  <c:v>39814</c:v>
                </c:pt>
                <c:pt idx="2">
                  <c:v>40179</c:v>
                </c:pt>
                <c:pt idx="3">
                  <c:v>40544</c:v>
                </c:pt>
                <c:pt idx="4">
                  <c:v>40909</c:v>
                </c:pt>
                <c:pt idx="5">
                  <c:v>41275</c:v>
                </c:pt>
                <c:pt idx="6">
                  <c:v>41640</c:v>
                </c:pt>
                <c:pt idx="7">
                  <c:v>42005</c:v>
                </c:pt>
                <c:pt idx="8">
                  <c:v>42370</c:v>
                </c:pt>
                <c:pt idx="9">
                  <c:v>42401</c:v>
                </c:pt>
              </c:numCache>
            </c:numRef>
          </c:cat>
          <c:val>
            <c:numRef>
              <c:f>Динамика!$C$158:$C$172</c:f>
              <c:numCache>
                <c:formatCode>General</c:formatCode>
                <c:ptCount val="10"/>
                <c:pt idx="0">
                  <c:v>28826</c:v>
                </c:pt>
                <c:pt idx="1">
                  <c:v>24743</c:v>
                </c:pt>
                <c:pt idx="2">
                  <c:v>38179</c:v>
                </c:pt>
                <c:pt idx="3">
                  <c:v>28595</c:v>
                </c:pt>
                <c:pt idx="4">
                  <c:v>23398</c:v>
                </c:pt>
                <c:pt idx="5">
                  <c:v>19678</c:v>
                </c:pt>
                <c:pt idx="6">
                  <c:v>18259</c:v>
                </c:pt>
                <c:pt idx="7">
                  <c:v>16120</c:v>
                </c:pt>
                <c:pt idx="8">
                  <c:v>17540</c:v>
                </c:pt>
                <c:pt idx="9">
                  <c:v>170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7"/>
        <c:axId val="130605824"/>
        <c:axId val="130607744"/>
      </c:barChart>
      <c:lineChart>
        <c:grouping val="stacked"/>
        <c:varyColors val="0"/>
        <c:ser>
          <c:idx val="2"/>
          <c:order val="2"/>
          <c:tx>
            <c:strRef>
              <c:f>Динамика!$D$157</c:f>
              <c:strCache>
                <c:ptCount val="1"/>
                <c:pt idx="0">
                  <c:v>Вакансии</c:v>
                </c:pt>
              </c:strCache>
            </c:strRef>
          </c:tx>
          <c:spPr>
            <a:ln cap="sq">
              <a:solidFill>
                <a:schemeClr val="accent4">
                  <a:lumMod val="60000"/>
                  <a:lumOff val="40000"/>
                </a:schemeClr>
              </a:solidFill>
              <a:round/>
              <a:headEnd type="none"/>
              <a:tailEnd type="none"/>
            </a:ln>
            <a:effectLst>
              <a:outerShdw blurRad="50800" dist="25400" dir="5400000" sx="96000" sy="96000" algn="ctr" rotWithShape="0">
                <a:srgbClr val="000000">
                  <a:alpha val="52000"/>
                </a:srgbClr>
              </a:outerShdw>
            </a:effectLst>
          </c:spPr>
          <c:marker>
            <c:symbol val="square"/>
            <c:size val="5"/>
            <c:spPr>
              <a:solidFill>
                <a:schemeClr val="accent4">
                  <a:lumMod val="75000"/>
                </a:schemeClr>
              </a:solidFill>
              <a:ln cap="rnd">
                <a:bevel/>
              </a:ln>
              <a:effectLst>
                <a:outerShdw blurRad="50800" dist="25400" dir="5400000" sx="96000" sy="96000" algn="ctr" rotWithShape="0">
                  <a:srgbClr val="000000">
                    <a:alpha val="52000"/>
                  </a:srgbClr>
                </a:outerShdw>
              </a:effectLst>
              <a:scene3d>
                <a:camera prst="orthographicFront"/>
                <a:lightRig rig="threePt" dir="t"/>
              </a:scene3d>
              <a:sp3d prstMaterial="softEdge"/>
            </c:spPr>
          </c:marker>
          <c:cat>
            <c:numRef>
              <c:f>Динамика!$A$158:$A$172</c:f>
              <c:numCache>
                <c:formatCode>dd/mm/yyyy</c:formatCode>
                <c:ptCount val="10"/>
                <c:pt idx="0">
                  <c:v>39448</c:v>
                </c:pt>
                <c:pt idx="1">
                  <c:v>39814</c:v>
                </c:pt>
                <c:pt idx="2">
                  <c:v>40179</c:v>
                </c:pt>
                <c:pt idx="3">
                  <c:v>40544</c:v>
                </c:pt>
                <c:pt idx="4">
                  <c:v>40909</c:v>
                </c:pt>
                <c:pt idx="5">
                  <c:v>41275</c:v>
                </c:pt>
                <c:pt idx="6">
                  <c:v>41640</c:v>
                </c:pt>
                <c:pt idx="7">
                  <c:v>42005</c:v>
                </c:pt>
                <c:pt idx="8">
                  <c:v>42370</c:v>
                </c:pt>
                <c:pt idx="9">
                  <c:v>42401</c:v>
                </c:pt>
              </c:numCache>
            </c:numRef>
          </c:cat>
          <c:val>
            <c:numRef>
              <c:f>Динамика!$D$158:$D$172</c:f>
              <c:numCache>
                <c:formatCode>General</c:formatCode>
                <c:ptCount val="10"/>
                <c:pt idx="0">
                  <c:v>29399</c:v>
                </c:pt>
                <c:pt idx="1">
                  <c:v>24891</c:v>
                </c:pt>
                <c:pt idx="2">
                  <c:v>19963</c:v>
                </c:pt>
                <c:pt idx="3">
                  <c:v>30029</c:v>
                </c:pt>
                <c:pt idx="4">
                  <c:v>32947</c:v>
                </c:pt>
                <c:pt idx="5">
                  <c:v>41209</c:v>
                </c:pt>
                <c:pt idx="6">
                  <c:v>32105</c:v>
                </c:pt>
                <c:pt idx="7">
                  <c:v>57171</c:v>
                </c:pt>
                <c:pt idx="8">
                  <c:v>39952</c:v>
                </c:pt>
                <c:pt idx="9">
                  <c:v>3940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0605824"/>
        <c:axId val="130607744"/>
      </c:lineChart>
      <c:catAx>
        <c:axId val="130605824"/>
        <c:scaling>
          <c:orientation val="minMax"/>
        </c:scaling>
        <c:delete val="0"/>
        <c:axPos val="b"/>
        <c:numFmt formatCode="dd/mm/yyyy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900" b="1" i="1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30607744"/>
        <c:crosses val="autoZero"/>
        <c:auto val="0"/>
        <c:lblAlgn val="ctr"/>
        <c:lblOffset val="100"/>
        <c:noMultiLvlLbl val="0"/>
      </c:catAx>
      <c:valAx>
        <c:axId val="130607744"/>
        <c:scaling>
          <c:orientation val="minMax"/>
          <c:max val="700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30605824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512165202322682"/>
          <c:y val="0.91474325169293436"/>
          <c:w val="0.52794553068507022"/>
          <c:h val="8.0256392283309164E-2"/>
        </c:manualLayout>
      </c:layout>
      <c:overlay val="0"/>
      <c:txPr>
        <a:bodyPr/>
        <a:lstStyle/>
        <a:p>
          <a:pPr>
            <a:defRPr sz="1400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zero"/>
    <c:showDLblsOverMax val="0"/>
  </c:chart>
  <c:spPr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>
        <c:manualLayout>
          <c:layoutTarget val="inner"/>
          <c:xMode val="edge"/>
          <c:yMode val="edge"/>
          <c:x val="9.8814089312348211E-2"/>
          <c:y val="3.631208527750187E-2"/>
          <c:w val="0.8337862665815422"/>
          <c:h val="0.864192919935853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E$163</c:f>
              <c:strCache>
                <c:ptCount val="1"/>
                <c:pt idx="0">
                  <c:v>Выбывшие</c:v>
                </c:pt>
              </c:strCache>
            </c:strRef>
          </c:tx>
          <c:spPr>
            <a:solidFill>
              <a:schemeClr val="accent5">
                <a:lumMod val="25000"/>
              </a:schemeClr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400" b="1"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C$164:$C$165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E$164:$E$165</c:f>
              <c:numCache>
                <c:formatCode>General</c:formatCode>
                <c:ptCount val="2"/>
                <c:pt idx="0">
                  <c:v>70402</c:v>
                </c:pt>
                <c:pt idx="1">
                  <c:v>67740</c:v>
                </c:pt>
              </c:numCache>
            </c:numRef>
          </c:val>
        </c:ser>
        <c:ser>
          <c:idx val="1"/>
          <c:order val="1"/>
          <c:tx>
            <c:strRef>
              <c:f>Лист1!$D$163</c:f>
              <c:strCache>
                <c:ptCount val="1"/>
                <c:pt idx="0">
                  <c:v>Прибывшие</c:v>
                </c:pt>
              </c:strCache>
            </c:strRef>
          </c:tx>
          <c:spPr>
            <a:solidFill>
              <a:srgbClr val="FFFF05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sz="1400" b="1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C$164:$C$165</c:f>
              <c:numCache>
                <c:formatCode>General</c:formatCode>
                <c:ptCount val="2"/>
                <c:pt idx="0">
                  <c:v>2014</c:v>
                </c:pt>
                <c:pt idx="1">
                  <c:v>2015</c:v>
                </c:pt>
              </c:numCache>
            </c:numRef>
          </c:cat>
          <c:val>
            <c:numRef>
              <c:f>Лист1!$D$164:$D$165</c:f>
              <c:numCache>
                <c:formatCode>General</c:formatCode>
                <c:ptCount val="2"/>
                <c:pt idx="0">
                  <c:v>63238</c:v>
                </c:pt>
                <c:pt idx="1">
                  <c:v>6162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9772160"/>
        <c:axId val="129778048"/>
      </c:barChart>
      <c:catAx>
        <c:axId val="1297721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 b="1">
                <a:latin typeface="Times New Roman" panose="02020603050405020304" pitchFamily="18" charset="0"/>
                <a:cs typeface="Times New Roman" panose="02020603050405020304" pitchFamily="18" charset="0"/>
              </a:defRPr>
            </a:pPr>
            <a:endParaRPr lang="ru-RU"/>
          </a:p>
        </c:txPr>
        <c:crossAx val="129778048"/>
        <c:crosses val="autoZero"/>
        <c:auto val="1"/>
        <c:lblAlgn val="ctr"/>
        <c:lblOffset val="100"/>
        <c:noMultiLvlLbl val="0"/>
      </c:catAx>
      <c:valAx>
        <c:axId val="12977804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297721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37802123626028661"/>
          <c:y val="0.92533046732309066"/>
          <c:w val="0.29525764355301559"/>
          <c:h val="7.3262691961691259E-2"/>
        </c:manualLayout>
      </c:layout>
      <c:overlay val="0"/>
      <c:txPr>
        <a:bodyPr/>
        <a:lstStyle/>
        <a:p>
          <a:pPr>
            <a:defRPr sz="1200"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>
                <c:manualLayout>
                  <c:x val="4.7003519465625499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50" dirty="0" smtClean="0"/>
                      <a:t>1,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1335679643750333E-3"/>
                  <c:y val="-4.2844337749673687E-3"/>
                </c:manualLayout>
              </c:layout>
              <c:tx>
                <c:rich>
                  <a:bodyPr/>
                  <a:lstStyle/>
                  <a:p>
                    <a:r>
                      <a:rPr lang="en-US" sz="1050" dirty="0" smtClean="0"/>
                      <a:t>2,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5667839821875741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50" dirty="0" smtClean="0"/>
                      <a:t>4,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050" dirty="0" smtClean="0"/>
                      <a:t>6,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050" dirty="0" smtClean="0"/>
                      <a:t>6,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3.1335679643750333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50" dirty="0" smtClean="0"/>
                      <a:t>7,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z="1050" dirty="0" smtClean="0"/>
                      <a:t>7,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tx>
                <c:rich>
                  <a:bodyPr/>
                  <a:lstStyle/>
                  <a:p>
                    <a:pPr>
                      <a:defRPr sz="1400" b="1">
                        <a:solidFill>
                          <a:srgbClr val="C00000"/>
                        </a:solidFill>
                      </a:defRPr>
                    </a:pPr>
                    <a:r>
                      <a:rPr lang="en-US" sz="1400" dirty="0" smtClean="0"/>
                      <a:t>10,1 %</a:t>
                    </a:r>
                    <a:endParaRPr lang="en-US" sz="14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/>
              <c:tx>
                <c:rich>
                  <a:bodyPr/>
                  <a:lstStyle/>
                  <a:p>
                    <a:pPr>
                      <a:defRPr sz="1400" b="1">
                        <a:solidFill>
                          <a:srgbClr val="C00000"/>
                        </a:solidFill>
                      </a:defRPr>
                    </a:pPr>
                    <a:r>
                      <a:rPr lang="en-US" sz="1400" dirty="0" smtClean="0"/>
                      <a:t>17,2 %</a:t>
                    </a:r>
                    <a:endParaRPr lang="en-US" sz="14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rgbClr val="C00000"/>
                        </a:solidFill>
                      </a:defRPr>
                    </a:pPr>
                    <a:r>
                      <a:rPr lang="en-US" sz="1600" dirty="0" smtClean="0"/>
                      <a:t>29,5 %</a:t>
                    </a:r>
                    <a:endParaRPr lang="en-US" sz="1600" dirty="0"/>
                  </a:p>
                </c:rich>
              </c:tx>
              <c:spPr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C$54:$C$63</c:f>
              <c:strCache>
                <c:ptCount val="10"/>
                <c:pt idx="0">
                  <c:v>Здравоохранение</c:v>
                </c:pt>
                <c:pt idx="1">
                  <c:v>Финансовая деятельность</c:v>
                </c:pt>
                <c:pt idx="2">
                  <c:v>Образование</c:v>
                </c:pt>
                <c:pt idx="3">
                  <c:v>Сельское хозяйство, охота и лесное хозяйство</c:v>
                </c:pt>
                <c:pt idx="4">
                  <c:v>Прочие коммунальные услуги</c:v>
                </c:pt>
                <c:pt idx="5">
                  <c:v>Обрабатывающие производства</c:v>
                </c:pt>
                <c:pt idx="6">
                  <c:v>Транспорт и связь</c:v>
                </c:pt>
                <c:pt idx="7">
                  <c:v>Строительство</c:v>
                </c:pt>
                <c:pt idx="8">
                  <c:v>Операции с недвижимым имуществом</c:v>
                </c:pt>
                <c:pt idx="9">
                  <c:v>Оптовая и розничная торговля</c:v>
                </c:pt>
              </c:strCache>
            </c:strRef>
          </c:cat>
          <c:val>
            <c:numRef>
              <c:f>Лист1!$D$54:$D$63</c:f>
              <c:numCache>
                <c:formatCode>General</c:formatCode>
                <c:ptCount val="10"/>
                <c:pt idx="0">
                  <c:v>1.8</c:v>
                </c:pt>
                <c:pt idx="1">
                  <c:v>2.2000000000000002</c:v>
                </c:pt>
                <c:pt idx="2">
                  <c:v>4.4000000000000004</c:v>
                </c:pt>
                <c:pt idx="3">
                  <c:v>6.5</c:v>
                </c:pt>
                <c:pt idx="4">
                  <c:v>6.6</c:v>
                </c:pt>
                <c:pt idx="5">
                  <c:v>7.2</c:v>
                </c:pt>
                <c:pt idx="6">
                  <c:v>7.7</c:v>
                </c:pt>
                <c:pt idx="7">
                  <c:v>10.1</c:v>
                </c:pt>
                <c:pt idx="8">
                  <c:v>17.2</c:v>
                </c:pt>
                <c:pt idx="9">
                  <c:v>29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083840"/>
        <c:axId val="128085376"/>
      </c:barChart>
      <c:catAx>
        <c:axId val="12808384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28085376"/>
        <c:crosses val="autoZero"/>
        <c:auto val="1"/>
        <c:lblAlgn val="ctr"/>
        <c:lblOffset val="100"/>
        <c:noMultiLvlLbl val="0"/>
      </c:catAx>
      <c:valAx>
        <c:axId val="128085376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128083840"/>
        <c:crosses val="autoZero"/>
        <c:crossBetween val="between"/>
      </c:valAx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1!$B$24</c:f>
              <c:strCache>
                <c:ptCount val="1"/>
                <c:pt idx="0">
                  <c:v>РФ</c:v>
                </c:pt>
              </c:strCache>
            </c:strRef>
          </c:tx>
          <c:spPr>
            <a:ln>
              <a:solidFill>
                <a:schemeClr val="accent5">
                  <a:lumMod val="25000"/>
                </a:schemeClr>
              </a:solidFill>
            </a:ln>
          </c:spPr>
          <c:marker>
            <c:symbol val="diamond"/>
            <c:size val="10"/>
            <c:spPr>
              <a:solidFill>
                <a:schemeClr val="accent5">
                  <a:lumMod val="25000"/>
                </a:schemeClr>
              </a:solidFill>
            </c:spPr>
          </c:marker>
          <c:dLbls>
            <c:dLbl>
              <c:idx val="0"/>
              <c:layout>
                <c:manualLayout>
                  <c:x val="-5.9216809933142309E-2"/>
                  <c:y val="8.836905274023873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0114613180515728E-2"/>
                  <c:y val="7.7972693594328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0563514804202482E-2"/>
                  <c:y val="7.7972693594328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5845272206303793E-2"/>
                  <c:y val="7.79726935943283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C$23:$G$23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C$24:$G$24</c:f>
              <c:numCache>
                <c:formatCode>0.0</c:formatCode>
                <c:ptCount val="5"/>
                <c:pt idx="0">
                  <c:v>105</c:v>
                </c:pt>
                <c:pt idx="1">
                  <c:v>103.4</c:v>
                </c:pt>
                <c:pt idx="2">
                  <c:v>100.4</c:v>
                </c:pt>
                <c:pt idx="3">
                  <c:v>101.7</c:v>
                </c:pt>
                <c:pt idx="4">
                  <c:v>96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B$25</c:f>
              <c:strCache>
                <c:ptCount val="1"/>
                <c:pt idx="0">
                  <c:v>СФО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square"/>
            <c:size val="9"/>
            <c:spPr>
              <a:solidFill>
                <a:srgbClr val="C00000"/>
              </a:solidFill>
            </c:spPr>
          </c:marker>
          <c:dLbls>
            <c:dLbl>
              <c:idx val="0"/>
              <c:layout>
                <c:manualLayout>
                  <c:x val="-3.8769490096923723E-2"/>
                  <c:y val="-5.031446540880499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5398230088495547E-2"/>
                  <c:y val="-6.28930817610062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1913190054783038E-2"/>
                  <c:y val="-5.870020964360587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6856300042140751E-3"/>
                  <c:y val="-1.25786163522012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6856300042140751E-3"/>
                  <c:y val="4.192872117400419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C0000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C$23:$G$23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C$25:$G$25</c:f>
              <c:numCache>
                <c:formatCode>0.0</c:formatCode>
                <c:ptCount val="5"/>
                <c:pt idx="0">
                  <c:v>106.4</c:v>
                </c:pt>
                <c:pt idx="1">
                  <c:v>107.2</c:v>
                </c:pt>
                <c:pt idx="2">
                  <c:v>104.7</c:v>
                </c:pt>
                <c:pt idx="3">
                  <c:v>102.7</c:v>
                </c:pt>
                <c:pt idx="4">
                  <c:v>100.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Лист1!$B$26</c:f>
              <c:strCache>
                <c:ptCount val="1"/>
                <c:pt idx="0">
                  <c:v>Иркутская область </c:v>
                </c:pt>
              </c:strCache>
            </c:strRef>
          </c:tx>
          <c:spPr>
            <a:ln>
              <a:solidFill>
                <a:srgbClr val="008000"/>
              </a:solidFill>
            </a:ln>
          </c:spPr>
          <c:marker>
            <c:symbol val="triangle"/>
            <c:size val="12"/>
            <c:spPr>
              <a:solidFill>
                <a:srgbClr val="008000"/>
              </a:solidFill>
            </c:spPr>
          </c:marker>
          <c:dLbls>
            <c:dLbl>
              <c:idx val="0"/>
              <c:layout>
                <c:manualLayout>
                  <c:x val="-5.5625790139064477E-2"/>
                  <c:y val="-5.0314465408805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8.4281500210703752E-3"/>
                  <c:y val="-2.51572327044025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8.933839022334604E-2"/>
                  <c:y val="-1.6771488469601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5284450063211186E-2"/>
                  <c:y val="-5.03144654088050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008000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C$23:$G$23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C$26:$G$26</c:f>
              <c:numCache>
                <c:formatCode>0.0</c:formatCode>
                <c:ptCount val="5"/>
                <c:pt idx="0">
                  <c:v>111.4</c:v>
                </c:pt>
                <c:pt idx="1">
                  <c:v>112.9</c:v>
                </c:pt>
                <c:pt idx="2">
                  <c:v>102.5</c:v>
                </c:pt>
                <c:pt idx="3">
                  <c:v>104.4</c:v>
                </c:pt>
                <c:pt idx="4">
                  <c:v>104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8185088"/>
        <c:axId val="128186624"/>
      </c:lineChart>
      <c:catAx>
        <c:axId val="128185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100" b="1"/>
            </a:pPr>
            <a:endParaRPr lang="ru-RU"/>
          </a:p>
        </c:txPr>
        <c:crossAx val="128186624"/>
        <c:crosses val="autoZero"/>
        <c:auto val="1"/>
        <c:lblAlgn val="ctr"/>
        <c:lblOffset val="100"/>
        <c:noMultiLvlLbl val="0"/>
      </c:catAx>
      <c:valAx>
        <c:axId val="128186624"/>
        <c:scaling>
          <c:orientation val="minMax"/>
          <c:min val="90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crossAx val="1281850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982194481787338"/>
          <c:y val="0.24593340926723783"/>
          <c:w val="0.20015453556110363"/>
          <c:h val="0.62134039848792488"/>
        </c:manualLayout>
      </c:layout>
      <c:overlay val="0"/>
      <c:txPr>
        <a:bodyPr/>
        <a:lstStyle/>
        <a:p>
          <a:pPr>
            <a:defRPr b="1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32"/>
    </mc:Choice>
    <mc:Fallback>
      <c:style val="3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C$86</c:f>
              <c:strCache>
                <c:ptCount val="1"/>
                <c:pt idx="0">
                  <c:v>Родившиеся</c:v>
                </c:pt>
              </c:strCache>
            </c:strRef>
          </c:tx>
          <c:spPr>
            <a:solidFill>
              <a:srgbClr val="99EB35"/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B$87:$B$91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C$87:$C$91</c:f>
              <c:numCache>
                <c:formatCode>General</c:formatCode>
                <c:ptCount val="5"/>
                <c:pt idx="0">
                  <c:v>37110</c:v>
                </c:pt>
                <c:pt idx="1">
                  <c:v>38555</c:v>
                </c:pt>
                <c:pt idx="2">
                  <c:v>37908</c:v>
                </c:pt>
                <c:pt idx="3">
                  <c:v>36856</c:v>
                </c:pt>
                <c:pt idx="4">
                  <c:v>37143</c:v>
                </c:pt>
              </c:numCache>
            </c:numRef>
          </c:val>
        </c:ser>
        <c:ser>
          <c:idx val="1"/>
          <c:order val="1"/>
          <c:tx>
            <c:strRef>
              <c:f>Лист1!$D$86</c:f>
              <c:strCache>
                <c:ptCount val="1"/>
                <c:pt idx="0">
                  <c:v>Умершие </c:v>
                </c:pt>
              </c:strCache>
            </c:strRef>
          </c:tx>
          <c:spPr>
            <a:solidFill>
              <a:schemeClr val="accent4">
                <a:lumMod val="75000"/>
                <a:lumOff val="25000"/>
              </a:schemeClr>
            </a:solidFill>
          </c:spPr>
          <c:invertIfNegative val="0"/>
          <c:dLbls>
            <c:numFmt formatCode="#,##0" sourceLinked="0"/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B$87:$B$91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D$87:$D$91</c:f>
              <c:numCache>
                <c:formatCode>General</c:formatCode>
                <c:ptCount val="5"/>
                <c:pt idx="0">
                  <c:v>33910</c:v>
                </c:pt>
                <c:pt idx="1">
                  <c:v>33639</c:v>
                </c:pt>
                <c:pt idx="2">
                  <c:v>33033</c:v>
                </c:pt>
                <c:pt idx="3">
                  <c:v>33127</c:v>
                </c:pt>
                <c:pt idx="4">
                  <c:v>330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77152"/>
        <c:axId val="128995328"/>
      </c:barChart>
      <c:catAx>
        <c:axId val="12897715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28995328"/>
        <c:crosses val="autoZero"/>
        <c:auto val="1"/>
        <c:lblAlgn val="ctr"/>
        <c:lblOffset val="100"/>
        <c:noMultiLvlLbl val="0"/>
      </c:catAx>
      <c:valAx>
        <c:axId val="1289953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128977152"/>
        <c:crosses val="autoZero"/>
        <c:crossBetween val="between"/>
      </c:valAx>
      <c:spPr>
        <a:noFill/>
        <a:ln>
          <a:noFill/>
        </a:ln>
      </c:spPr>
    </c:plotArea>
    <c:legend>
      <c:legendPos val="r"/>
      <c:layout>
        <c:manualLayout>
          <c:xMode val="edge"/>
          <c:yMode val="edge"/>
          <c:x val="0.84694497833440108"/>
          <c:y val="0.27502825038705803"/>
          <c:w val="0.15305502166559889"/>
          <c:h val="0.29165824232738879"/>
        </c:manualLayout>
      </c:layout>
      <c:overlay val="0"/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154</c:f>
              <c:strCache>
                <c:ptCount val="1"/>
                <c:pt idx="0">
                  <c:v>РФ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triangle"/>
            <c:size val="9"/>
            <c:spPr>
              <a:solidFill>
                <a:srgbClr val="C00000"/>
              </a:solidFill>
            </c:spPr>
          </c:marker>
          <c:cat>
            <c:numRef>
              <c:f>Лист1!$C$153:$G$153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C$154:$G$154</c:f>
              <c:numCache>
                <c:formatCode>General</c:formatCode>
                <c:ptCount val="5"/>
                <c:pt idx="0">
                  <c:v>106.1</c:v>
                </c:pt>
                <c:pt idx="1">
                  <c:v>106.6</c:v>
                </c:pt>
                <c:pt idx="2">
                  <c:v>106.5</c:v>
                </c:pt>
                <c:pt idx="3">
                  <c:v>114.4</c:v>
                </c:pt>
                <c:pt idx="4">
                  <c:v>112.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Лист1!$B$155</c:f>
              <c:strCache>
                <c:ptCount val="1"/>
                <c:pt idx="0">
                  <c:v>СФО</c:v>
                </c:pt>
              </c:strCache>
            </c:strRef>
          </c:tx>
          <c:spPr>
            <a:ln>
              <a:solidFill>
                <a:schemeClr val="accent5">
                  <a:lumMod val="25000"/>
                </a:schemeClr>
              </a:solidFill>
            </a:ln>
          </c:spPr>
          <c:marker>
            <c:symbol val="square"/>
            <c:size val="7"/>
            <c:spPr>
              <a:solidFill>
                <a:schemeClr val="accent5">
                  <a:lumMod val="25000"/>
                </a:schemeClr>
              </a:solidFill>
            </c:spPr>
          </c:marker>
          <c:cat>
            <c:numRef>
              <c:f>Лист1!$C$153:$G$153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C$155:$G$155</c:f>
              <c:numCache>
                <c:formatCode>General</c:formatCode>
                <c:ptCount val="5"/>
                <c:pt idx="0">
                  <c:v>106.3</c:v>
                </c:pt>
                <c:pt idx="1">
                  <c:v>106.7</c:v>
                </c:pt>
                <c:pt idx="2">
                  <c:v>106.1</c:v>
                </c:pt>
                <c:pt idx="3">
                  <c:v>110.8</c:v>
                </c:pt>
                <c:pt idx="4">
                  <c:v>111.6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Лист1!$B$156</c:f>
              <c:strCache>
                <c:ptCount val="1"/>
                <c:pt idx="0">
                  <c:v>Иркутская область</c:v>
                </c:pt>
              </c:strCache>
            </c:strRef>
          </c:tx>
          <c:spPr>
            <a:ln>
              <a:solidFill>
                <a:srgbClr val="008000"/>
              </a:solidFill>
            </a:ln>
          </c:spPr>
          <c:marker>
            <c:symbol val="diamond"/>
            <c:size val="9"/>
            <c:spPr>
              <a:solidFill>
                <a:srgbClr val="008000"/>
              </a:solidFill>
            </c:spPr>
          </c:marker>
          <c:cat>
            <c:numRef>
              <c:f>Лист1!$C$153:$G$153</c:f>
              <c:numCache>
                <c:formatCode>General</c:formatCode>
                <c:ptCount val="5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</c:numCache>
            </c:numRef>
          </c:cat>
          <c:val>
            <c:numRef>
              <c:f>Лист1!$C$156:$G$156</c:f>
              <c:numCache>
                <c:formatCode>General</c:formatCode>
                <c:ptCount val="5"/>
                <c:pt idx="0">
                  <c:v>107.4</c:v>
                </c:pt>
                <c:pt idx="1">
                  <c:v>106.9</c:v>
                </c:pt>
                <c:pt idx="2">
                  <c:v>105.1</c:v>
                </c:pt>
                <c:pt idx="3">
                  <c:v>110.8</c:v>
                </c:pt>
                <c:pt idx="4">
                  <c:v>112.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026688"/>
        <c:axId val="128217856"/>
      </c:lineChart>
      <c:catAx>
        <c:axId val="129026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28217856"/>
        <c:crosses val="autoZero"/>
        <c:auto val="1"/>
        <c:lblAlgn val="ctr"/>
        <c:lblOffset val="100"/>
        <c:noMultiLvlLbl val="0"/>
      </c:catAx>
      <c:valAx>
        <c:axId val="128217856"/>
        <c:scaling>
          <c:orientation val="minMax"/>
          <c:min val="100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129026688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sz="1050" b="1"/>
            </a:pPr>
            <a:endParaRPr lang="ru-RU"/>
          </a:p>
        </c:txPr>
      </c:dTable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41489206988968"/>
          <c:y val="9.8491593858786725E-2"/>
          <c:w val="0.40883496423105425"/>
          <c:h val="0.76048114002815448"/>
        </c:manualLayout>
      </c:layout>
      <c:doughnutChart>
        <c:varyColors val="1"/>
        <c:ser>
          <c:idx val="0"/>
          <c:order val="0"/>
          <c:dPt>
            <c:idx val="0"/>
            <c:bubble3D val="0"/>
            <c:explosion val="12"/>
            <c:spPr>
              <a:gradFill>
                <a:gsLst>
                  <a:gs pos="37500">
                    <a:srgbClr val="19C2E2"/>
                  </a:gs>
                  <a:gs pos="0">
                    <a:srgbClr val="03D4A8"/>
                  </a:gs>
                  <a:gs pos="25000">
                    <a:srgbClr val="21D6E0"/>
                  </a:gs>
                  <a:gs pos="75000">
                    <a:srgbClr val="0087E6"/>
                  </a:gs>
                  <a:gs pos="100000">
                    <a:srgbClr val="005CBF"/>
                  </a:gs>
                </a:gsLst>
                <a:lin ang="5400000" scaled="0"/>
              </a:gradFill>
            </c:spPr>
          </c:dPt>
          <c:dPt>
            <c:idx val="1"/>
            <c:bubble3D val="0"/>
            <c:spPr>
              <a:solidFill>
                <a:srgbClr val="FE0000"/>
              </a:solidFill>
            </c:spPr>
          </c:dPt>
          <c:dPt>
            <c:idx val="2"/>
            <c:bubble3D val="0"/>
            <c:explosion val="8"/>
            <c:spPr>
              <a:solidFill>
                <a:srgbClr val="FFFF00"/>
              </a:solidFill>
            </c:spPr>
          </c:dPt>
          <c:dLbls>
            <c:dLbl>
              <c:idx val="0"/>
              <c:layout>
                <c:manualLayout>
                  <c:x val="0.20740567806382693"/>
                  <c:y val="-0.24350264507092054"/>
                </c:manualLayout>
              </c:layout>
              <c:tx>
                <c:rich>
                  <a:bodyPr/>
                  <a:lstStyle/>
                  <a:p>
                    <a:r>
                      <a:rPr lang="ru-RU" sz="1200" b="1"/>
                      <a:t>Налоговые доходы;</a:t>
                    </a:r>
                  </a:p>
                  <a:p>
                    <a:endParaRPr lang="ru-RU" sz="1200" b="1"/>
                  </a:p>
                  <a:p>
                    <a:r>
                      <a:rPr lang="ru-RU" sz="1200" b="1"/>
                      <a:t> </a:t>
                    </a:r>
                    <a:r>
                      <a:rPr lang="ru-RU" sz="1200" b="1" i="1"/>
                      <a:t>81,4 млрд</a:t>
                    </a:r>
                    <a:r>
                      <a:rPr lang="ru-RU" sz="1200" b="1" i="1" baseline="0"/>
                      <a:t> (</a:t>
                    </a:r>
                    <a:r>
                      <a:rPr lang="ru-RU" sz="1200" b="1" i="1"/>
                      <a:t>78%)</a:t>
                    </a:r>
                    <a:endParaRPr lang="ru-RU" i="1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0.16893025574969356"/>
                  <c:y val="5.9571067292412523E-2"/>
                </c:manualLayout>
              </c:layout>
              <c:tx>
                <c:rich>
                  <a:bodyPr/>
                  <a:lstStyle/>
                  <a:p>
                    <a:r>
                      <a:rPr lang="ru-RU" sz="1200" b="1" dirty="0"/>
                      <a:t>Неналоговые доходы; </a:t>
                    </a:r>
                  </a:p>
                  <a:p>
                    <a:endParaRPr lang="ru-RU" sz="1200" b="1" dirty="0"/>
                  </a:p>
                  <a:p>
                    <a:r>
                      <a:rPr lang="ru-RU" sz="1200" b="1" i="1" dirty="0"/>
                      <a:t>2 млрд (2%)</a:t>
                    </a:r>
                    <a:endParaRPr lang="ru-RU" i="1" dirty="0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0.17978645616401223"/>
                  <c:y val="-0.11198337392291384"/>
                </c:manualLayout>
              </c:layout>
              <c:tx>
                <c:rich>
                  <a:bodyPr/>
                  <a:lstStyle/>
                  <a:p>
                    <a:r>
                      <a:rPr lang="ru-RU" sz="1200" b="1"/>
                      <a:t>Безвозмездные поступления; </a:t>
                    </a:r>
                  </a:p>
                  <a:p>
                    <a:endParaRPr lang="ru-RU" sz="1200" b="1"/>
                  </a:p>
                  <a:p>
                    <a:r>
                      <a:rPr lang="ru-RU" sz="1200" b="1" i="1"/>
                      <a:t>21</a:t>
                    </a:r>
                    <a:r>
                      <a:rPr lang="ru-RU" sz="1200" b="1" i="1" baseline="0"/>
                      <a:t> млрд (</a:t>
                    </a:r>
                    <a:r>
                      <a:rPr lang="ru-RU" sz="1200" b="1" i="1"/>
                      <a:t>20%)</a:t>
                    </a:r>
                    <a:endParaRPr lang="ru-RU" i="1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1"/>
          </c:dLbls>
          <c:cat>
            <c:strRef>
              <c:f>Лист1!$B$48:$B$50</c:f>
              <c:strCache>
                <c:ptCount val="3"/>
                <c:pt idx="0">
                  <c:v>Налоговые доходы</c:v>
                </c:pt>
                <c:pt idx="1">
                  <c:v>Неналоговые доходы</c:v>
                </c:pt>
                <c:pt idx="2">
                  <c:v>Безвозмездные поступления</c:v>
                </c:pt>
              </c:strCache>
            </c:strRef>
          </c:cat>
          <c:val>
            <c:numRef>
              <c:f>Лист1!$C$48:$C$50</c:f>
              <c:numCache>
                <c:formatCode>0.0</c:formatCode>
                <c:ptCount val="3"/>
                <c:pt idx="0">
                  <c:v>81.400000000000006</c:v>
                </c:pt>
                <c:pt idx="1">
                  <c:v>2</c:v>
                </c:pt>
                <c:pt idx="2">
                  <c:v>21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i="1">
                <a:solidFill>
                  <a:schemeClr val="accent5">
                    <a:lumMod val="25000"/>
                  </a:schemeClr>
                </a:solidFill>
              </a:defRPr>
            </a:pPr>
            <a:r>
              <a:rPr lang="ru-RU" sz="1600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</a:t>
            </a:r>
            <a:r>
              <a:rPr lang="ru-RU" sz="1600" i="1" baseline="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логовых доходов областного </a:t>
            </a:r>
            <a:r>
              <a:rPr lang="ru-RU" sz="1600" i="1" baseline="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а</a:t>
            </a:r>
          </a:p>
          <a:p>
            <a:pPr>
              <a:defRPr i="1">
                <a:solidFill>
                  <a:schemeClr val="accent5">
                    <a:lumMod val="25000"/>
                  </a:schemeClr>
                </a:solidFill>
              </a:defRPr>
            </a:pPr>
            <a:r>
              <a:rPr lang="ru-RU" sz="1600" i="1" baseline="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i="1" baseline="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015 г</a:t>
            </a:r>
          </a:p>
          <a:p>
            <a:pPr>
              <a:defRPr i="1">
                <a:solidFill>
                  <a:schemeClr val="accent5">
                    <a:lumMod val="25000"/>
                  </a:schemeClr>
                </a:solidFill>
              </a:defRPr>
            </a:pPr>
            <a:endParaRPr lang="ru-RU" i="1" dirty="0">
              <a:solidFill>
                <a:schemeClr val="accent5">
                  <a:lumMod val="25000"/>
                </a:schemeClr>
              </a:solidFill>
            </a:endParaRP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35379984076384918"/>
          <c:y val="0.22519782701580907"/>
          <c:w val="0.37103246177272825"/>
          <c:h val="0.7481049868766404"/>
        </c:manualLayout>
      </c:layout>
      <c:pieChart>
        <c:varyColors val="1"/>
        <c:ser>
          <c:idx val="0"/>
          <c:order val="0"/>
          <c:explosion val="36"/>
          <c:dPt>
            <c:idx val="0"/>
            <c:bubble3D val="0"/>
            <c:explosion val="7"/>
            <c:spPr>
              <a:solidFill>
                <a:srgbClr val="FFFF05"/>
              </a:solidFill>
            </c:spPr>
          </c:dPt>
          <c:dPt>
            <c:idx val="1"/>
            <c:bubble3D val="0"/>
            <c:explosion val="7"/>
            <c:spPr>
              <a:solidFill>
                <a:schemeClr val="accent5">
                  <a:lumMod val="50000"/>
                </a:schemeClr>
              </a:solidFill>
            </c:spPr>
          </c:dPt>
          <c:dPt>
            <c:idx val="2"/>
            <c:bubble3D val="0"/>
            <c:explosion val="25"/>
            <c:spPr>
              <a:solidFill>
                <a:srgbClr val="FC4F0A"/>
              </a:solidFill>
            </c:spPr>
          </c:dPt>
          <c:dPt>
            <c:idx val="3"/>
            <c:bubble3D val="0"/>
            <c:spPr>
              <a:solidFill>
                <a:srgbClr val="FF0000"/>
              </a:solidFill>
            </c:spPr>
          </c:dPt>
          <c:dPt>
            <c:idx val="4"/>
            <c:bubble3D val="0"/>
            <c:explosion val="23"/>
            <c:spPr>
              <a:solidFill>
                <a:srgbClr val="57F76A"/>
              </a:solidFill>
            </c:spPr>
          </c:dPt>
          <c:dLbls>
            <c:dLbl>
              <c:idx val="0"/>
              <c:layout>
                <c:manualLayout>
                  <c:x val="6.4922167444008749E-2"/>
                  <c:y val="-0.11004982267736417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29658758255546708"/>
                  <c:y val="-8.6159283068387577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-7.8903242251864833E-2"/>
                  <c:y val="0.31053834238633909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0.14715204044435351"/>
                  <c:y val="0.2923370770419095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-0.21218788257293203"/>
                  <c:y val="1.823018914466196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 </a:t>
                    </a:r>
                    <a:endParaRPr lang="ru-RU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Лист1!$B$77:$B$81</c:f>
              <c:strCache>
                <c:ptCount val="5"/>
                <c:pt idx="0">
                  <c:v>Налог на доходы физических лиц</c:v>
                </c:pt>
                <c:pt idx="1">
                  <c:v>Налог на прибыль организаций</c:v>
                </c:pt>
                <c:pt idx="2">
                  <c:v>Налог на имущество </c:v>
                </c:pt>
                <c:pt idx="3">
                  <c:v>Налог на добычу полезных ископаемых</c:v>
                </c:pt>
                <c:pt idx="4">
                  <c:v>Прочие налоговые и неналоговые доходы</c:v>
                </c:pt>
              </c:strCache>
            </c:strRef>
          </c:cat>
          <c:val>
            <c:numRef>
              <c:f>Лист1!$C$77:$C$81</c:f>
              <c:numCache>
                <c:formatCode>General</c:formatCode>
                <c:ptCount val="5"/>
                <c:pt idx="0">
                  <c:v>27.1</c:v>
                </c:pt>
                <c:pt idx="1">
                  <c:v>28.6</c:v>
                </c:pt>
                <c:pt idx="2">
                  <c:v>13.9</c:v>
                </c:pt>
                <c:pt idx="3">
                  <c:v>2.1</c:v>
                </c:pt>
                <c:pt idx="4">
                  <c:v>9.6</c:v>
                </c:pt>
              </c:numCache>
            </c:numRef>
          </c:val>
        </c:ser>
        <c:dLbls>
          <c:dLblPos val="bestFit"/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gradFill>
              <a:gsLst>
                <a:gs pos="0">
                  <a:srgbClr val="DDEBCF"/>
                </a:gs>
                <a:gs pos="50000">
                  <a:srgbClr val="9CB86E"/>
                </a:gs>
                <a:gs pos="100000">
                  <a:srgbClr val="156B13"/>
                </a:gs>
              </a:gsLst>
              <a:lin ang="2700000" scaled="0"/>
            </a:gradFill>
          </c:spPr>
          <c:invertIfNegative val="0"/>
          <c:dPt>
            <c:idx val="11"/>
            <c:invertIfNegative val="0"/>
            <c:bubble3D val="0"/>
            <c:spPr>
              <a:gradFill>
                <a:gsLst>
                  <a:gs pos="0">
                    <a:srgbClr val="FF0000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2700000" scaled="0"/>
              </a:gradFill>
            </c:spPr>
          </c:dPt>
          <c:dPt>
            <c:idx val="12"/>
            <c:invertIfNegative val="0"/>
            <c:bubble3D val="0"/>
            <c:spPr>
              <a:gradFill>
                <a:gsLst>
                  <a:gs pos="0">
                    <a:srgbClr val="FF0000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2700000" scaled="0"/>
              </a:gradFill>
            </c:spPr>
          </c:dPt>
          <c:dPt>
            <c:idx val="13"/>
            <c:invertIfNegative val="0"/>
            <c:bubble3D val="0"/>
            <c:spPr>
              <a:gradFill>
                <a:gsLst>
                  <a:gs pos="0">
                    <a:srgbClr val="FF0000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2700000" scaled="0"/>
              </a:gradFill>
            </c:spPr>
          </c:dPt>
          <c:dLbls>
            <c:dLbl>
              <c:idx val="0"/>
              <c:layout>
                <c:manualLayout>
                  <c:x val="2.3598815673924571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00"/>
                      <a:t>92,8</a:t>
                    </a:r>
                    <a:r>
                      <a:rPr lang="ru-RU" sz="1000"/>
                      <a:t> (0,1</a:t>
                    </a:r>
                    <a:r>
                      <a:rPr lang="ru-RU" sz="1000" baseline="0"/>
                      <a:t> 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3.5398223510886857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00"/>
                      <a:t>111,3</a:t>
                    </a:r>
                    <a:r>
                      <a:rPr lang="ru-RU" sz="1000"/>
                      <a:t> (0,1 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4.7197631347849142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00"/>
                      <a:t>129,1</a:t>
                    </a:r>
                    <a:r>
                      <a:rPr lang="ru-RU" sz="1000"/>
                      <a:t> (0,1 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000"/>
                      <a:t>615,1</a:t>
                    </a:r>
                    <a:r>
                      <a:rPr lang="ru-RU" sz="1000"/>
                      <a:t> (0,5 %) 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1.1799407836962286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00"/>
                      <a:t>798,2</a:t>
                    </a:r>
                    <a:r>
                      <a:rPr lang="ru-RU" sz="1000"/>
                      <a:t> (0,7 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00"/>
                      <a:t>1 014,2</a:t>
                    </a:r>
                    <a:r>
                      <a:rPr lang="ru-RU" sz="1000"/>
                      <a:t> (0,9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2.3598815673924571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00"/>
                      <a:t>1 213,6</a:t>
                    </a:r>
                    <a:r>
                      <a:rPr lang="ru-RU" sz="1000"/>
                      <a:t> (1,1 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2.3598815673924571E-3"/>
                  <c:y val="-2.4286581663630845E-3"/>
                </c:manualLayout>
              </c:layout>
              <c:tx>
                <c:rich>
                  <a:bodyPr/>
                  <a:lstStyle/>
                  <a:p>
                    <a:r>
                      <a:rPr lang="en-US" sz="1000"/>
                      <a:t>3 377,9</a:t>
                    </a:r>
                    <a:r>
                      <a:rPr lang="ru-RU" sz="1000"/>
                      <a:t> (3 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2.3598815673924571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00"/>
                      <a:t>5 659,8</a:t>
                    </a:r>
                    <a:r>
                      <a:rPr lang="ru-RU" sz="1000"/>
                      <a:t> (5 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z="1000"/>
                      <a:t>7 877,1</a:t>
                    </a:r>
                    <a:r>
                      <a:rPr lang="ru-RU" sz="1000"/>
                      <a:t> (7</a:t>
                    </a:r>
                    <a:r>
                      <a:rPr lang="ru-RU" sz="1000" baseline="0"/>
                      <a:t> 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sz="1000"/>
                      <a:t>14 481,5</a:t>
                    </a:r>
                    <a:r>
                      <a:rPr lang="ru-RU" sz="1000"/>
                      <a:t> (12,8 %)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1.2153402177410386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00" dirty="0">
                        <a:solidFill>
                          <a:srgbClr val="C00000"/>
                        </a:solidFill>
                      </a:rPr>
                      <a:t>20 850,6</a:t>
                    </a:r>
                    <a:r>
                      <a:rPr lang="ru-RU" sz="1000" dirty="0">
                        <a:solidFill>
                          <a:srgbClr val="C00000"/>
                        </a:solidFill>
                      </a:rPr>
                      <a:t> (18,4 %)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/>
              <c:tx>
                <c:rich>
                  <a:bodyPr/>
                  <a:lstStyle/>
                  <a:p>
                    <a:r>
                      <a:rPr lang="en-US" sz="1000" dirty="0">
                        <a:solidFill>
                          <a:srgbClr val="C00000"/>
                        </a:solidFill>
                      </a:rPr>
                      <a:t>23 636,2</a:t>
                    </a:r>
                    <a:r>
                      <a:rPr lang="ru-RU" sz="1000" dirty="0">
                        <a:solidFill>
                          <a:srgbClr val="C00000"/>
                        </a:solidFill>
                      </a:rPr>
                      <a:t> (20,9 %)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1.5100035954731281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dirty="0">
                        <a:solidFill>
                          <a:srgbClr val="C00000"/>
                        </a:solidFill>
                      </a:rPr>
                      <a:t>33 430,4</a:t>
                    </a:r>
                    <a:r>
                      <a:rPr lang="ru-RU" sz="1000" b="1" dirty="0">
                        <a:solidFill>
                          <a:srgbClr val="C00000"/>
                        </a:solidFill>
                      </a:rPr>
                      <a:t> (29,5 %)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B$106:$B$119</c:f>
              <c:strCache>
                <c:ptCount val="14"/>
                <c:pt idx="0">
                  <c:v>Охрана окружающей среды</c:v>
                </c:pt>
                <c:pt idx="1">
                  <c:v>Средства массовой информации</c:v>
                </c:pt>
                <c:pt idx="2">
                  <c:v>Национальная оборона</c:v>
                </c:pt>
                <c:pt idx="3">
                  <c:v>Физическая культура и спорт</c:v>
                </c:pt>
                <c:pt idx="4">
                  <c:v>Обслуживание государственного и муниципального долга</c:v>
                </c:pt>
                <c:pt idx="5">
                  <c:v>Национальная безопасность и правоохранительная деятельность</c:v>
                </c:pt>
                <c:pt idx="6">
                  <c:v>Культура, кинемотография</c:v>
                </c:pt>
                <c:pt idx="7">
                  <c:v>Общегосударственные вопросы</c:v>
                </c:pt>
                <c:pt idx="8">
                  <c:v>МБТ общего характера бюджетам субъектов РФ и МО</c:v>
                </c:pt>
                <c:pt idx="9">
                  <c:v>Жилищно-коммунальное хозяйство</c:v>
                </c:pt>
                <c:pt idx="10">
                  <c:v>Национальная экономика</c:v>
                </c:pt>
                <c:pt idx="11">
                  <c:v>Социальная политика</c:v>
                </c:pt>
                <c:pt idx="12">
                  <c:v>Здравоохранение</c:v>
                </c:pt>
                <c:pt idx="13">
                  <c:v>Образование</c:v>
                </c:pt>
              </c:strCache>
            </c:strRef>
          </c:cat>
          <c:val>
            <c:numRef>
              <c:f>Лист1!$C$106:$C$119</c:f>
              <c:numCache>
                <c:formatCode>General</c:formatCode>
                <c:ptCount val="14"/>
                <c:pt idx="0">
                  <c:v>92.8</c:v>
                </c:pt>
                <c:pt idx="1">
                  <c:v>111.3</c:v>
                </c:pt>
                <c:pt idx="2">
                  <c:v>129.1</c:v>
                </c:pt>
                <c:pt idx="3">
                  <c:v>615.1</c:v>
                </c:pt>
                <c:pt idx="4">
                  <c:v>798.2</c:v>
                </c:pt>
                <c:pt idx="5">
                  <c:v>1014.2</c:v>
                </c:pt>
                <c:pt idx="6">
                  <c:v>1213.5999999999999</c:v>
                </c:pt>
                <c:pt idx="7">
                  <c:v>3377.9</c:v>
                </c:pt>
                <c:pt idx="8">
                  <c:v>5659.8</c:v>
                </c:pt>
                <c:pt idx="9">
                  <c:v>7877.1</c:v>
                </c:pt>
                <c:pt idx="10">
                  <c:v>14481.5</c:v>
                </c:pt>
                <c:pt idx="11">
                  <c:v>20850.599999999999</c:v>
                </c:pt>
                <c:pt idx="12">
                  <c:v>23636.2</c:v>
                </c:pt>
                <c:pt idx="13">
                  <c:v>33430.4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9515904"/>
        <c:axId val="129517440"/>
      </c:barChart>
      <c:catAx>
        <c:axId val="129515904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ru-RU"/>
          </a:p>
        </c:txPr>
        <c:crossAx val="129517440"/>
        <c:crosses val="autoZero"/>
        <c:auto val="1"/>
        <c:lblAlgn val="ctr"/>
        <c:lblOffset val="100"/>
        <c:noMultiLvlLbl val="0"/>
      </c:catAx>
      <c:valAx>
        <c:axId val="129517440"/>
        <c:scaling>
          <c:orientation val="minMax"/>
          <c:min val="0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12951590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110277297538078E-2"/>
          <c:y val="0.10757014528113563"/>
          <c:w val="0.6321166963618382"/>
          <c:h val="0.79237144652693059"/>
        </c:manualLayout>
      </c:layout>
      <c:pieChart>
        <c:varyColors val="1"/>
        <c:ser>
          <c:idx val="0"/>
          <c:order val="0"/>
          <c:spPr>
            <a:ln>
              <a:noFill/>
            </a:ln>
          </c:spPr>
          <c:explosion val="4"/>
          <c:dPt>
            <c:idx val="1"/>
            <c:bubble3D val="0"/>
            <c:explosion val="16"/>
            <c:spPr>
              <a:gradFill flip="none" rotWithShape="1">
                <a:gsLst>
                  <a:gs pos="0">
                    <a:srgbClr val="FF3399"/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path path="rect">
                  <a:fillToRect l="100000" t="100000"/>
                </a:path>
                <a:tileRect r="-100000" b="-100000"/>
              </a:gradFill>
              <a:ln>
                <a:noFill/>
              </a:ln>
            </c:spPr>
          </c:dPt>
          <c:dPt>
            <c:idx val="2"/>
            <c:bubble3D val="0"/>
            <c:spPr>
              <a:gradFill>
                <a:gsLst>
                  <a:gs pos="0">
                    <a:srgbClr val="03D4A8"/>
                  </a:gs>
                  <a:gs pos="25000">
                    <a:srgbClr val="21D6E0"/>
                  </a:gs>
                  <a:gs pos="75000">
                    <a:srgbClr val="0087E6"/>
                  </a:gs>
                  <a:gs pos="100000">
                    <a:srgbClr val="005CBF"/>
                  </a:gs>
                </a:gsLst>
                <a:lin ang="5400000" scaled="0"/>
              </a:gradFill>
              <a:ln>
                <a:noFill/>
              </a:ln>
            </c:spPr>
          </c:dPt>
          <c:dLbls>
            <c:dLbl>
              <c:idx val="0"/>
              <c:layout>
                <c:manualLayout>
                  <c:x val="0.11701816438542319"/>
                  <c:y val="0.43943661971830988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Ценные бумаги</a:t>
                    </a:r>
                  </a:p>
                  <a:p>
                    <a:r>
                      <a:rPr lang="ru-RU" baseline="0" dirty="0"/>
                      <a:t> (</a:t>
                    </a:r>
                    <a:r>
                      <a:rPr lang="ru-RU" dirty="0"/>
                      <a:t>0.0); </a:t>
                    </a:r>
                    <a:r>
                      <a:rPr lang="ru-RU" dirty="0">
                        <a:solidFill>
                          <a:srgbClr val="170DD9"/>
                        </a:solidFill>
                      </a:rPr>
                      <a:t>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</c:dLbl>
            <c:dLbl>
              <c:idx val="1"/>
              <c:layout>
                <c:manualLayout>
                  <c:x val="0.11602869233034117"/>
                  <c:y val="-0.28688713910761154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Кредиты </a:t>
                    </a:r>
                    <a:r>
                      <a:rPr lang="ru-RU" dirty="0" smtClean="0"/>
                      <a:t>коммерческих </a:t>
                    </a:r>
                    <a:r>
                      <a:rPr lang="ru-RU" dirty="0"/>
                      <a:t>банков</a:t>
                    </a:r>
                    <a:r>
                      <a:rPr lang="ru-RU" baseline="0" dirty="0"/>
                      <a:t> (</a:t>
                    </a:r>
                    <a:r>
                      <a:rPr lang="ru-RU" dirty="0"/>
                      <a:t>16 828); </a:t>
                    </a:r>
                    <a:r>
                      <a:rPr lang="ru-RU" dirty="0">
                        <a:solidFill>
                          <a:srgbClr val="170DD9"/>
                        </a:solidFill>
                      </a:rPr>
                      <a:t>8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</c:dLbl>
            <c:dLbl>
              <c:idx val="2"/>
              <c:layout>
                <c:manualLayout>
                  <c:x val="0.14799826547483333"/>
                  <c:y val="-1.8234298177516543E-2"/>
                </c:manualLayout>
              </c:layout>
              <c:tx>
                <c:rich>
                  <a:bodyPr/>
                  <a:lstStyle/>
                  <a:p>
                    <a:r>
                      <a:rPr lang="ru-RU" dirty="0"/>
                      <a:t>Бюджетные кредиты</a:t>
                    </a:r>
                  </a:p>
                  <a:p>
                    <a:r>
                      <a:rPr lang="ru-RU" dirty="0"/>
                      <a:t> (4 289); </a:t>
                    </a:r>
                    <a:r>
                      <a:rPr lang="ru-RU" dirty="0">
                        <a:solidFill>
                          <a:srgbClr val="170DD9"/>
                        </a:solidFill>
                      </a:rPr>
                      <a:t>20%</a:t>
                    </a:r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</c:dLbl>
            <c:dLbl>
              <c:idx val="3"/>
              <c:layout>
                <c:manualLayout>
                  <c:x val="9.6774802388699732E-2"/>
                  <c:y val="-6.1891981812132292E-3"/>
                </c:manualLayout>
              </c:layout>
              <c:tx>
                <c:rich>
                  <a:bodyPr/>
                  <a:lstStyle/>
                  <a:p>
                    <a:pPr algn="just">
                      <a:defRPr b="1"/>
                    </a:pPr>
                    <a:r>
                      <a:rPr lang="ru-RU" dirty="0" smtClean="0"/>
                      <a:t>Государственные гарантии</a:t>
                    </a:r>
                  </a:p>
                  <a:p>
                    <a:pPr algn="just">
                      <a:defRPr b="1"/>
                    </a:pPr>
                    <a:r>
                      <a:rPr lang="ru-RU" dirty="0" smtClean="0"/>
                      <a:t>(0.0</a:t>
                    </a:r>
                    <a:r>
                      <a:rPr lang="ru-RU" dirty="0"/>
                      <a:t>); </a:t>
                    </a:r>
                    <a:r>
                      <a:rPr lang="ru-RU" dirty="0">
                        <a:solidFill>
                          <a:srgbClr val="170DD9"/>
                        </a:solidFill>
                      </a:rPr>
                      <a:t>0%</a:t>
                    </a:r>
                  </a:p>
                </c:rich>
              </c:tx>
              <c:spPr/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</c:dLbl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; </c:separator>
            <c:showLeaderLines val="1"/>
          </c:dLbls>
          <c:cat>
            <c:strRef>
              <c:f>Лист1!$B$10:$B$13</c:f>
              <c:strCache>
                <c:ptCount val="4"/>
                <c:pt idx="0">
                  <c:v>Ценные бумаги</c:v>
                </c:pt>
                <c:pt idx="1">
                  <c:v>Кредиты коммерческих банков</c:v>
                </c:pt>
                <c:pt idx="2">
                  <c:v>Бюджетные кредиты</c:v>
                </c:pt>
                <c:pt idx="3">
                  <c:v>Государственные гарантии</c:v>
                </c:pt>
              </c:strCache>
            </c:strRef>
          </c:cat>
          <c:val>
            <c:numRef>
              <c:f>Лист1!$C$10:$C$13</c:f>
              <c:numCache>
                <c:formatCode>#,##0</c:formatCode>
                <c:ptCount val="4"/>
                <c:pt idx="0" formatCode="General">
                  <c:v>0</c:v>
                </c:pt>
                <c:pt idx="1">
                  <c:v>16828</c:v>
                </c:pt>
                <c:pt idx="2">
                  <c:v>4289</c:v>
                </c:pt>
                <c:pt idx="3" formatCode="General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78"/>
      </c:pieChart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803</cdr:x>
      <cdr:y>0.20698</cdr:y>
    </cdr:from>
    <cdr:to>
      <cdr:x>0.23875</cdr:x>
      <cdr:y>0.4302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57275" y="84772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pPr algn="ctr" rtl="0">
            <a:defRPr sz="1200" b="1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r>
            <a:rPr lang="ru-RU" sz="1200" b="1" kern="1200" dirty="0">
              <a:solidFill>
                <a:srgbClr val="000000"/>
              </a:solidFill>
            </a:rPr>
            <a:t>Прочие </a:t>
          </a:r>
          <a:r>
            <a:rPr lang="ru-RU" sz="1200" b="1" kern="1200" dirty="0" smtClean="0">
              <a:solidFill>
                <a:srgbClr val="000000"/>
              </a:solidFill>
            </a:rPr>
            <a:t>налоговые</a:t>
          </a:r>
        </a:p>
        <a:p xmlns:a="http://schemas.openxmlformats.org/drawingml/2006/main">
          <a:pPr algn="ctr" rtl="0">
            <a:defRPr sz="1200" b="1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r>
            <a:rPr lang="ru-RU" sz="1200" b="1" kern="1200" dirty="0" smtClean="0">
              <a:solidFill>
                <a:srgbClr val="000000"/>
              </a:solidFill>
            </a:rPr>
            <a:t> и  </a:t>
          </a:r>
          <a:r>
            <a:rPr lang="ru-RU" sz="1200" b="1" kern="1200" dirty="0">
              <a:solidFill>
                <a:srgbClr val="000000"/>
              </a:solidFill>
            </a:rPr>
            <a:t>неналоговые </a:t>
          </a:r>
          <a:endParaRPr lang="ru-RU" sz="1200" b="1" kern="1200" dirty="0" smtClean="0">
            <a:solidFill>
              <a:srgbClr val="000000"/>
            </a:solidFill>
          </a:endParaRPr>
        </a:p>
        <a:p xmlns:a="http://schemas.openxmlformats.org/drawingml/2006/main">
          <a:pPr algn="ctr" rtl="0">
            <a:defRPr sz="1200" b="1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r>
            <a:rPr lang="ru-RU" sz="1200" b="1" kern="1200" dirty="0" smtClean="0">
              <a:solidFill>
                <a:srgbClr val="000000"/>
              </a:solidFill>
            </a:rPr>
            <a:t>доходы</a:t>
          </a:r>
          <a:r>
            <a:rPr lang="ru-RU" sz="1200" b="1" kern="1200" dirty="0">
              <a:solidFill>
                <a:srgbClr val="000000"/>
              </a:solidFill>
            </a:rPr>
            <a:t>
</a:t>
          </a:r>
          <a:r>
            <a:rPr lang="ru-RU" sz="1200" b="1" kern="1200" dirty="0">
              <a:solidFill>
                <a:schemeClr val="tx1"/>
              </a:solidFill>
            </a:rPr>
            <a:t>12%</a:t>
          </a:r>
        </a:p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59054</cdr:x>
      <cdr:y>0.87442</cdr:y>
    </cdr:from>
    <cdr:to>
      <cdr:x>0.72087</cdr:x>
      <cdr:y>0.88837</cdr:y>
    </cdr:to>
    <cdr:cxnSp macro="">
      <cdr:nvCxnSpPr>
        <cdr:cNvPr id="4" name="Прямая соединительная линия 3"/>
        <cdr:cNvCxnSpPr/>
      </cdr:nvCxnSpPr>
      <cdr:spPr bwMode="auto">
        <a:xfrm xmlns:a="http://schemas.openxmlformats.org/drawingml/2006/main">
          <a:off x="4876819" y="3581410"/>
          <a:ext cx="1076288" cy="57136"/>
        </a:xfrm>
        <a:prstGeom xmlns:a="http://schemas.openxmlformats.org/drawingml/2006/main" prst="line">
          <a:avLst/>
        </a:prstGeom>
        <a:solidFill xmlns:a="http://schemas.openxmlformats.org/drawingml/2006/main">
          <a:schemeClr val="accent1"/>
        </a:solidFill>
        <a:ln xmlns:a="http://schemas.openxmlformats.org/drawingml/2006/main"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4616</cdr:x>
      <cdr:y>0.18732</cdr:y>
    </cdr:from>
    <cdr:to>
      <cdr:x>0.55427</cdr:x>
      <cdr:y>0.5141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642004" y="528801"/>
          <a:ext cx="882478" cy="9225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800" b="1" dirty="0" smtClean="0">
              <a:solidFill>
                <a:srgbClr val="FE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 7 164</a:t>
          </a:r>
          <a:endParaRPr lang="ru-RU" sz="1800" b="1" dirty="0">
            <a:solidFill>
              <a:srgbClr val="FE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  <cdr:relSizeAnchor xmlns:cdr="http://schemas.openxmlformats.org/drawingml/2006/chartDrawing">
    <cdr:from>
      <cdr:x>0.89148</cdr:x>
      <cdr:y>0.35072</cdr:y>
    </cdr:from>
    <cdr:to>
      <cdr:x>0.99959</cdr:x>
      <cdr:y>0.6775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7277100" y="990085"/>
          <a:ext cx="882478" cy="92257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800" b="1" dirty="0" smtClean="0">
              <a:solidFill>
                <a:srgbClr val="FE000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 6 114</a:t>
          </a:r>
          <a:endParaRPr lang="ru-RU" sz="1800" b="1" dirty="0">
            <a:solidFill>
              <a:srgbClr val="FE000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547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>
            <a:lvl1pPr algn="l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5455" y="0"/>
            <a:ext cx="2970946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>
            <a:lvl1pPr algn="r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08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9435"/>
            <a:ext cx="2972547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b" anchorCtr="0" compatLnSpc="1">
            <a:prstTxWarp prst="textNoShape">
              <a:avLst/>
            </a:prstTxWarp>
          </a:bodyPr>
          <a:lstStyle>
            <a:lvl1pPr algn="l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208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5455" y="9449435"/>
            <a:ext cx="2970946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b" anchorCtr="0" compatLnSpc="1">
            <a:prstTxWarp prst="textNoShape">
              <a:avLst/>
            </a:prstTxWarp>
          </a:bodyPr>
          <a:lstStyle>
            <a:lvl1pPr algn="r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29212938-B8CB-463C-85F4-BB92DD38CA7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9602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2547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>
            <a:lvl1pPr algn="l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885455" y="0"/>
            <a:ext cx="2970946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>
            <a:lvl1pPr algn="r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7940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1125" y="746125"/>
            <a:ext cx="6637338" cy="37338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7083" y="4728694"/>
            <a:ext cx="5485439" cy="4472615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9435"/>
            <a:ext cx="2972547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b" anchorCtr="0" compatLnSpc="1">
            <a:prstTxWarp prst="textNoShape">
              <a:avLst/>
            </a:prstTxWarp>
          </a:bodyPr>
          <a:lstStyle>
            <a:lvl1pPr algn="l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5455" y="9449435"/>
            <a:ext cx="2970946" cy="49625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003" tIns="45502" rIns="91003" bIns="45502" numCol="1" anchor="b" anchorCtr="0" compatLnSpc="1">
            <a:prstTxWarp prst="textNoShape">
              <a:avLst/>
            </a:prstTxWarp>
          </a:bodyPr>
          <a:lstStyle>
            <a:lvl1pPr algn="r" defTabSz="910723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EC805CD5-6701-4AD0-8A77-B74A6C7D3B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09445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395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0951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505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1902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75434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0526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5605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0693" algn="l" defTabSz="91017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6442" indent="-287093"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8372" indent="-229674"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7721" indent="-229674"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67070" indent="-229674" defTabSz="91072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26419" indent="-229674" defTabSz="9107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85767" indent="-229674" defTabSz="9107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45116" indent="-229674" defTabSz="9107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904465" indent="-229674" defTabSz="9107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EFB3D8E-77CF-498D-9767-073D654451EC}" type="slidenum">
              <a:rPr lang="ru-RU" smtClean="0">
                <a:solidFill>
                  <a:srgbClr val="000000"/>
                </a:solidFill>
              </a:rPr>
              <a:pPr eaLnBrk="1" hangingPunct="1"/>
              <a:t>1</a:t>
            </a:fld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6896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3500" y="350838"/>
            <a:ext cx="7070725" cy="3976687"/>
          </a:xfrm>
          <a:ln/>
        </p:spPr>
      </p:sp>
      <p:sp>
        <p:nvSpPr>
          <p:cNvPr id="168964" name="Заметки 2"/>
          <p:cNvSpPr>
            <a:spLocks noGrp="1"/>
          </p:cNvSpPr>
          <p:nvPr>
            <p:ph type="body" idx="1"/>
          </p:nvPr>
        </p:nvSpPr>
        <p:spPr>
          <a:xfrm>
            <a:off x="730326" y="4521923"/>
            <a:ext cx="5583136" cy="489411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endParaRPr lang="ru-RU" dirty="0" smtClean="0">
              <a:latin typeface="Arial" pitchFamily="34" charset="0"/>
            </a:endParaRPr>
          </a:p>
        </p:txBody>
      </p:sp>
      <p:sp>
        <p:nvSpPr>
          <p:cNvPr id="168965" name="Нижний колонтитул 3"/>
          <p:cNvSpPr txBox="1">
            <a:spLocks noGrp="1"/>
          </p:cNvSpPr>
          <p:nvPr/>
        </p:nvSpPr>
        <p:spPr bwMode="auto">
          <a:xfrm>
            <a:off x="4686248" y="46843"/>
            <a:ext cx="1796742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800" dirty="0">
                <a:solidFill>
                  <a:srgbClr val="000000"/>
                </a:solidFill>
                <a:cs typeface="Arial" pitchFamily="34" charset="0"/>
              </a:rPr>
              <a:t>MOS-ROS005-200600608-SS1wm-r_c</a:t>
            </a:r>
          </a:p>
        </p:txBody>
      </p:sp>
      <p:sp>
        <p:nvSpPr>
          <p:cNvPr id="168966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D2ACA83-D4E3-452A-A092-111DB5DC0130}" type="slidenum">
              <a:rPr lang="en-US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1</a:t>
            </a:fld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11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13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14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19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27957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50613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16688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30</a:t>
            </a:fld>
            <a:endParaRPr lang="en-US" sz="120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2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3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4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5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6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7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8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8738" y="350838"/>
            <a:ext cx="7067550" cy="3975100"/>
          </a:xfrm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>
          <a:xfrm>
            <a:off x="730326" y="4520333"/>
            <a:ext cx="5583136" cy="4897292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dirty="0" smtClean="0">
              <a:latin typeface="Arial" charset="0"/>
            </a:endParaRPr>
          </a:p>
        </p:txBody>
      </p:sp>
      <p:sp>
        <p:nvSpPr>
          <p:cNvPr id="4100" name="Нижний колонтитул 3"/>
          <p:cNvSpPr txBox="1">
            <a:spLocks noGrp="1"/>
          </p:cNvSpPr>
          <p:nvPr/>
        </p:nvSpPr>
        <p:spPr bwMode="auto">
          <a:xfrm>
            <a:off x="4720121" y="46843"/>
            <a:ext cx="1796741" cy="12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r>
              <a:rPr lang="ru-RU" sz="800" dirty="0">
                <a:latin typeface="Arial" charset="0"/>
                <a:cs typeface="Arial" charset="0"/>
              </a:rPr>
              <a:t>MOS-ROS005-200600608-SS1wm-r_c</a:t>
            </a:r>
          </a:p>
        </p:txBody>
      </p:sp>
      <p:sp>
        <p:nvSpPr>
          <p:cNvPr id="4101" name="Номер слайда 4"/>
          <p:cNvSpPr txBox="1">
            <a:spLocks noGrp="1"/>
          </p:cNvSpPr>
          <p:nvPr/>
        </p:nvSpPr>
        <p:spPr bwMode="auto">
          <a:xfrm>
            <a:off x="5972322" y="9479139"/>
            <a:ext cx="544540" cy="185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901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r" eaLnBrk="1" hangingPunct="1"/>
            <a:fld id="{87E85524-01F8-4A0B-9A08-502B053E5A6D}" type="slidenum">
              <a:rPr lang="en-US" sz="1200">
                <a:latin typeface="Arial" charset="0"/>
                <a:cs typeface="Arial" charset="0"/>
              </a:rPr>
              <a:pPr algn="r" eaLnBrk="1" hangingPunct="1"/>
              <a:t>9</a:t>
            </a:fld>
            <a:endParaRPr lang="en-US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44799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2.v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8.xml"/><Relationship Id="rId11" Type="http://schemas.openxmlformats.org/officeDocument/2006/relationships/tags" Target="../tags/tag113.xml"/><Relationship Id="rId5" Type="http://schemas.openxmlformats.org/officeDocument/2006/relationships/tags" Target="../tags/tag107.xml"/><Relationship Id="rId10" Type="http://schemas.openxmlformats.org/officeDocument/2006/relationships/tags" Target="../tags/tag112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8.xml"/><Relationship Id="rId11" Type="http://schemas.openxmlformats.org/officeDocument/2006/relationships/tags" Target="../tags/tag123.xml"/><Relationship Id="rId5" Type="http://schemas.openxmlformats.org/officeDocument/2006/relationships/tags" Target="../tags/tag117.xml"/><Relationship Id="rId10" Type="http://schemas.openxmlformats.org/officeDocument/2006/relationships/tags" Target="../tags/tag122.xml"/><Relationship Id="rId4" Type="http://schemas.openxmlformats.org/officeDocument/2006/relationships/tags" Target="../tags/tag116.xml"/><Relationship Id="rId9" Type="http://schemas.openxmlformats.org/officeDocument/2006/relationships/tags" Target="../tags/tag12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5" Type="http://schemas.openxmlformats.org/officeDocument/2006/relationships/tags" Target="../tags/tag12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0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35.xml"/><Relationship Id="rId7" Type="http://schemas.openxmlformats.org/officeDocument/2006/relationships/tags" Target="../tags/tag13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5" Type="http://schemas.openxmlformats.org/officeDocument/2006/relationships/tags" Target="../tags/tag137.xml"/><Relationship Id="rId10" Type="http://schemas.openxmlformats.org/officeDocument/2006/relationships/tags" Target="../tags/tag142.xml"/><Relationship Id="rId4" Type="http://schemas.openxmlformats.org/officeDocument/2006/relationships/tags" Target="../tags/tag136.xml"/><Relationship Id="rId9" Type="http://schemas.openxmlformats.org/officeDocument/2006/relationships/tags" Target="../tags/tag14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3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2" Type="http://schemas.openxmlformats.org/officeDocument/2006/relationships/tags" Target="../tags/tag17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82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8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0.xml"/><Relationship Id="rId9" Type="http://schemas.openxmlformats.org/officeDocument/2006/relationships/tags" Target="../tags/tag18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7.xml"/><Relationship Id="rId1" Type="http://schemas.openxmlformats.org/officeDocument/2006/relationships/tags" Target="../tags/tag18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5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6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7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oleObject" Target="../embeddings/oleObject8.bin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74.xml"/><Relationship Id="rId1" Type="http://schemas.openxmlformats.org/officeDocument/2006/relationships/vmlDrawing" Target="../drawings/vmlDrawing8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oleObject" Target="../embeddings/oleObject9.bin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9.v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5" Type="http://schemas.openxmlformats.org/officeDocument/2006/relationships/tags" Target="../tags/tag97.xml"/><Relationship Id="rId10" Type="http://schemas.openxmlformats.org/officeDocument/2006/relationships/tags" Target="../tags/tag102.xml"/><Relationship Id="rId4" Type="http://schemas.openxmlformats.org/officeDocument/2006/relationships/tags" Target="../tags/tag96.xml"/><Relationship Id="rId9" Type="http://schemas.openxmlformats.org/officeDocument/2006/relationships/tags" Target="../tags/tag10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29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4" y="2914654"/>
            <a:ext cx="6400800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55456" indent="0" algn="ctr">
              <a:buNone/>
              <a:defRPr/>
            </a:lvl2pPr>
            <a:lvl3pPr marL="910937" indent="0" algn="ctr">
              <a:buNone/>
              <a:defRPr/>
            </a:lvl3pPr>
            <a:lvl4pPr marL="1366410" indent="0" algn="ctr">
              <a:buNone/>
              <a:defRPr/>
            </a:lvl4pPr>
            <a:lvl5pPr marL="1821879" indent="0" algn="ctr">
              <a:buNone/>
              <a:defRPr/>
            </a:lvl5pPr>
            <a:lvl6pPr marL="2277349" indent="0" algn="ctr">
              <a:buNone/>
              <a:defRPr/>
            </a:lvl6pPr>
            <a:lvl7pPr marL="2732824" indent="0" algn="ctr">
              <a:buNone/>
              <a:defRPr/>
            </a:lvl7pPr>
            <a:lvl8pPr marL="3188288" indent="0" algn="ctr">
              <a:buNone/>
              <a:defRPr/>
            </a:lvl8pPr>
            <a:lvl9pPr marL="3643758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9DFBE1-6935-4572-AD8F-A72B1A5952D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240164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512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486598" y="973962"/>
            <a:ext cx="4431983" cy="98192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F1C3FC-E878-4B0B-AE81-AD127702E3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147189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53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33851" y="176213"/>
            <a:ext cx="584775" cy="17145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351503" y="176213"/>
            <a:ext cx="2215991" cy="17145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854228-CDCC-4449-BDD4-4AC8F0A9AC1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6875642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560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2238" y="176220"/>
            <a:ext cx="8793162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5417" y="973944"/>
            <a:ext cx="8793162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04C76E2-0AA6-4396-B2B1-BF053D4177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1238330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584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22279" y="176213"/>
            <a:ext cx="8796337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39E6F2-5330-4358-ABA9-C5147649B67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9656318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6400" y="1598205"/>
            <a:ext cx="7771211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396" y="2915029"/>
            <a:ext cx="6401219" cy="446276"/>
          </a:xfrm>
        </p:spPr>
        <p:txBody>
          <a:bodyPr/>
          <a:lstStyle>
            <a:lvl1pPr marL="0" indent="0" algn="ctr">
              <a:buNone/>
              <a:defRPr/>
            </a:lvl1pPr>
            <a:lvl2pPr marL="413900" indent="0" algn="ctr">
              <a:buNone/>
              <a:defRPr/>
            </a:lvl2pPr>
            <a:lvl3pPr marL="827800" indent="0" algn="ctr">
              <a:buNone/>
              <a:defRPr/>
            </a:lvl3pPr>
            <a:lvl4pPr marL="1241698" indent="0" algn="ctr">
              <a:buNone/>
              <a:defRPr/>
            </a:lvl4pPr>
            <a:lvl5pPr marL="1655596" indent="0" algn="ctr">
              <a:buNone/>
              <a:defRPr/>
            </a:lvl5pPr>
            <a:lvl6pPr marL="2069491" indent="0" algn="ctr">
              <a:buNone/>
              <a:defRPr/>
            </a:lvl6pPr>
            <a:lvl7pPr marL="2483392" indent="0" algn="ctr">
              <a:buNone/>
              <a:defRPr/>
            </a:lvl7pPr>
            <a:lvl8pPr marL="2897293" indent="0" algn="ctr">
              <a:buNone/>
              <a:defRPr/>
            </a:lvl8pPr>
            <a:lvl9pPr marL="3311191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6435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0723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745" y="3305581"/>
            <a:ext cx="7772609" cy="553998"/>
          </a:xfr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745" y="3028581"/>
            <a:ext cx="7772609" cy="276999"/>
          </a:xfrm>
        </p:spPr>
        <p:txBody>
          <a:bodyPr anchor="b"/>
          <a:lstStyle>
            <a:lvl1pPr marL="0" indent="0">
              <a:buNone/>
              <a:defRPr sz="1800"/>
            </a:lvl1pPr>
            <a:lvl2pPr marL="413900" indent="0">
              <a:buNone/>
              <a:defRPr sz="1600"/>
            </a:lvl2pPr>
            <a:lvl3pPr marL="827800" indent="0">
              <a:buNone/>
              <a:defRPr sz="1500"/>
            </a:lvl3pPr>
            <a:lvl4pPr marL="1241698" indent="0">
              <a:buNone/>
              <a:defRPr sz="1300"/>
            </a:lvl4pPr>
            <a:lvl5pPr marL="1655596" indent="0">
              <a:buNone/>
              <a:defRPr sz="1300"/>
            </a:lvl5pPr>
            <a:lvl6pPr marL="2069491" indent="0">
              <a:buNone/>
              <a:defRPr sz="1300"/>
            </a:lvl6pPr>
            <a:lvl7pPr marL="2483392" indent="0">
              <a:buNone/>
              <a:defRPr sz="1300"/>
            </a:lvl7pPr>
            <a:lvl8pPr marL="2897293" indent="0">
              <a:buNone/>
              <a:defRPr sz="1300"/>
            </a:lvl8pPr>
            <a:lvl9pPr marL="3311191" indent="0">
              <a:buNone/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8892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815" y="973558"/>
            <a:ext cx="4329456" cy="1508105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89496" y="973558"/>
            <a:ext cx="4329455" cy="1508105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8975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6" y="205968"/>
            <a:ext cx="8229739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152" y="1292285"/>
            <a:ext cx="4040079" cy="338554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152" y="1630847"/>
            <a:ext cx="4040079" cy="1323439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394" y="1292285"/>
            <a:ext cx="4041477" cy="338554"/>
          </a:xfrm>
        </p:spPr>
        <p:txBody>
          <a:bodyPr anchor="b"/>
          <a:lstStyle>
            <a:lvl1pPr marL="0" indent="0">
              <a:buNone/>
              <a:defRPr sz="2200" b="1"/>
            </a:lvl1pPr>
            <a:lvl2pPr marL="413900" indent="0">
              <a:buNone/>
              <a:defRPr sz="1800" b="1"/>
            </a:lvl2pPr>
            <a:lvl3pPr marL="827800" indent="0">
              <a:buNone/>
              <a:defRPr sz="1600" b="1"/>
            </a:lvl3pPr>
            <a:lvl4pPr marL="1241698" indent="0">
              <a:buNone/>
              <a:defRPr sz="1500" b="1"/>
            </a:lvl4pPr>
            <a:lvl5pPr marL="1655596" indent="0">
              <a:buNone/>
              <a:defRPr sz="1500" b="1"/>
            </a:lvl5pPr>
            <a:lvl6pPr marL="2069491" indent="0">
              <a:buNone/>
              <a:defRPr sz="1500" b="1"/>
            </a:lvl6pPr>
            <a:lvl7pPr marL="2483392" indent="0">
              <a:buNone/>
              <a:defRPr sz="1500" b="1"/>
            </a:lvl7pPr>
            <a:lvl8pPr marL="2897293" indent="0">
              <a:buNone/>
              <a:defRPr sz="1500" b="1"/>
            </a:lvl8pPr>
            <a:lvl9pPr marL="3311191" indent="0">
              <a:buNone/>
              <a:defRPr sz="15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394" y="1630847"/>
            <a:ext cx="4041477" cy="1323439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20500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062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320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7FDFBC-567F-4842-BA84-B1A2B4C73F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369324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5206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137" y="798982"/>
            <a:ext cx="3008391" cy="276999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4562" y="204856"/>
            <a:ext cx="5112308" cy="1738938"/>
          </a:xfrm>
        </p:spPr>
        <p:txBody>
          <a:bodyPr/>
          <a:lstStyle>
            <a:lvl1pPr>
              <a:defRPr sz="2900"/>
            </a:lvl1pPr>
            <a:lvl2pPr>
              <a:defRPr sz="2600"/>
            </a:lvl2pPr>
            <a:lvl3pPr>
              <a:defRPr sz="22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137" y="1075972"/>
            <a:ext cx="3008391" cy="200055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8824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81" y="3748899"/>
            <a:ext cx="5486959" cy="276999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81" y="459201"/>
            <a:ext cx="5486959" cy="446276"/>
          </a:xfrm>
        </p:spPr>
        <p:txBody>
          <a:bodyPr/>
          <a:lstStyle>
            <a:lvl1pPr marL="0" indent="0">
              <a:buNone/>
              <a:defRPr sz="2900"/>
            </a:lvl1pPr>
            <a:lvl2pPr marL="413900" indent="0">
              <a:buNone/>
              <a:defRPr sz="2600"/>
            </a:lvl2pPr>
            <a:lvl3pPr marL="827800" indent="0">
              <a:buNone/>
              <a:defRPr sz="2200"/>
            </a:lvl3pPr>
            <a:lvl4pPr marL="1241698" indent="0">
              <a:buNone/>
              <a:defRPr sz="1800"/>
            </a:lvl4pPr>
            <a:lvl5pPr marL="1655596" indent="0">
              <a:buNone/>
              <a:defRPr sz="1800"/>
            </a:lvl5pPr>
            <a:lvl6pPr marL="2069491" indent="0">
              <a:buNone/>
              <a:defRPr sz="1800"/>
            </a:lvl6pPr>
            <a:lvl7pPr marL="2483392" indent="0">
              <a:buNone/>
              <a:defRPr sz="1800"/>
            </a:lvl7pPr>
            <a:lvl8pPr marL="2897293" indent="0">
              <a:buNone/>
              <a:defRPr sz="1800"/>
            </a:lvl8pPr>
            <a:lvl9pPr marL="3311191" indent="0">
              <a:buNone/>
              <a:defRPr sz="18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81" y="4025887"/>
            <a:ext cx="5486959" cy="200055"/>
          </a:xfrm>
        </p:spPr>
        <p:txBody>
          <a:bodyPr/>
          <a:lstStyle>
            <a:lvl1pPr marL="0" indent="0">
              <a:buNone/>
              <a:defRPr sz="1300"/>
            </a:lvl1pPr>
            <a:lvl2pPr marL="413900" indent="0">
              <a:buNone/>
              <a:defRPr sz="1100"/>
            </a:lvl2pPr>
            <a:lvl3pPr marL="827800" indent="0">
              <a:buNone/>
              <a:defRPr sz="900"/>
            </a:lvl3pPr>
            <a:lvl4pPr marL="1241698" indent="0">
              <a:buNone/>
              <a:defRPr sz="800"/>
            </a:lvl4pPr>
            <a:lvl5pPr marL="1655596" indent="0">
              <a:buNone/>
              <a:defRPr sz="800"/>
            </a:lvl5pPr>
            <a:lvl6pPr marL="2069491" indent="0">
              <a:buNone/>
              <a:defRPr sz="800"/>
            </a:lvl6pPr>
            <a:lvl7pPr marL="2483392" indent="0">
              <a:buNone/>
              <a:defRPr sz="800"/>
            </a:lvl7pPr>
            <a:lvl8pPr marL="2897293" indent="0">
              <a:buNone/>
              <a:defRPr sz="800"/>
            </a:lvl8pPr>
            <a:lvl9pPr marL="3311191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5966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255847" y="973570"/>
            <a:ext cx="5663089" cy="133933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778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34159" y="176703"/>
            <a:ext cx="584775" cy="177039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107898" y="176703"/>
            <a:ext cx="3477875" cy="177039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0383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990" y="-16883"/>
            <a:ext cx="9146796" cy="181205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8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6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11" tIns="51059" rIns="102111" bIns="51059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025" y="-15750"/>
            <a:ext cx="2611373" cy="180079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92503" tIns="46256" rIns="92503" bIns="46256"/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>
              <a:solidFill>
                <a:srgbClr val="000000"/>
              </a:solidFill>
            </a:endParaRPr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966" y="-20256"/>
            <a:ext cx="9174755" cy="193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>
              <a:solidFill>
                <a:srgbClr val="000000"/>
              </a:solidFill>
            </a:endParaRPr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198" y="4962296"/>
            <a:ext cx="9141203" cy="198087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9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11" tIns="51059" rIns="102111" bIns="51059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102179" tIns="51094" rIns="102179" bIns="51094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819" y="407433"/>
            <a:ext cx="8793114" cy="4715813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</a:t>
              </a:r>
              <a:r>
                <a:rPr lang="en-US" sz="1200">
                  <a:solidFill>
                    <a:srgbClr val="000000"/>
                  </a:solidFill>
                </a:rPr>
                <a:t>*</a:t>
              </a:r>
              <a:r>
                <a:rPr lang="ru-RU" sz="1200">
                  <a:solidFill>
                    <a:srgbClr val="000000"/>
                  </a:solidFill>
                </a:rPr>
                <a:t>	Сноска</a:t>
              </a:r>
              <a:endParaRPr lang="en-US" sz="120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sz="1200">
                  <a:solidFill>
                    <a:srgbClr val="000000"/>
                  </a:solidFill>
                </a:rPr>
                <a:t>:</a:t>
              </a: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614" y="2063006"/>
            <a:ext cx="172964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93" y="3216637"/>
            <a:ext cx="97622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graphicFrame>
        <p:nvGraphicFramePr>
          <p:cNvPr id="159" name="Rectangle 38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6995" y="9"/>
          <a:ext cx="150979" cy="1215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368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5" y="9"/>
                        <a:ext cx="150979" cy="12155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8" y="176719"/>
            <a:ext cx="8797307" cy="1738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0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61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3291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1_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1648" y="176719"/>
            <a:ext cx="8797307" cy="1738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00841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22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1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7138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02523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0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01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0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0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0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0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04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05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883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5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0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1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2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3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4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5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6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7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8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9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0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9344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97398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456" indent="0">
              <a:buNone/>
              <a:defRPr sz="1800"/>
            </a:lvl2pPr>
            <a:lvl3pPr marL="910937" indent="0">
              <a:buNone/>
              <a:defRPr sz="1600"/>
            </a:lvl3pPr>
            <a:lvl4pPr marL="1366410" indent="0">
              <a:buNone/>
              <a:defRPr sz="1400"/>
            </a:lvl4pPr>
            <a:lvl5pPr marL="1821879" indent="0">
              <a:buNone/>
              <a:defRPr sz="1400"/>
            </a:lvl5pPr>
            <a:lvl6pPr marL="2277349" indent="0">
              <a:buNone/>
              <a:defRPr sz="1400"/>
            </a:lvl6pPr>
            <a:lvl7pPr marL="2732824" indent="0">
              <a:buNone/>
              <a:defRPr sz="1400"/>
            </a:lvl7pPr>
            <a:lvl8pPr marL="3188288" indent="0">
              <a:buNone/>
              <a:defRPr sz="1400"/>
            </a:lvl8pPr>
            <a:lvl9pPr marL="364375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1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79E372-72F8-44C0-93C9-C3299359391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2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1084371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200154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00154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96166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4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2" indent="0">
              <a:buNone/>
              <a:defRPr sz="1800" b="1"/>
            </a:lvl3pPr>
            <a:lvl4pPr marL="1371020" indent="0">
              <a:buNone/>
              <a:defRPr sz="1600" b="1"/>
            </a:lvl4pPr>
            <a:lvl5pPr marL="1828025" indent="0">
              <a:buNone/>
              <a:defRPr sz="1600" b="1"/>
            </a:lvl5pPr>
            <a:lvl6pPr marL="2285032" indent="0">
              <a:buNone/>
              <a:defRPr sz="1600" b="1"/>
            </a:lvl6pPr>
            <a:lvl7pPr marL="2742037" indent="0">
              <a:buNone/>
              <a:defRPr sz="1600" b="1"/>
            </a:lvl7pPr>
            <a:lvl8pPr marL="3199044" indent="0">
              <a:buNone/>
              <a:defRPr sz="1600" b="1"/>
            </a:lvl8pPr>
            <a:lvl9pPr marL="365605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05552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25331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53949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04791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26613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2" indent="0">
              <a:buNone/>
              <a:defRPr sz="2400"/>
            </a:lvl3pPr>
            <a:lvl4pPr marL="1371020" indent="0">
              <a:buNone/>
              <a:defRPr sz="2000"/>
            </a:lvl4pPr>
            <a:lvl5pPr marL="1828025" indent="0">
              <a:buNone/>
              <a:defRPr sz="2000"/>
            </a:lvl5pPr>
            <a:lvl6pPr marL="2285032" indent="0">
              <a:buNone/>
              <a:defRPr sz="2000"/>
            </a:lvl6pPr>
            <a:lvl7pPr marL="2742037" indent="0">
              <a:buNone/>
              <a:defRPr sz="2000"/>
            </a:lvl7pPr>
            <a:lvl8pPr marL="3199044" indent="0">
              <a:buNone/>
              <a:defRPr sz="2000"/>
            </a:lvl8pPr>
            <a:lvl9pPr marL="365605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008" indent="0">
              <a:buNone/>
              <a:defRPr sz="1200"/>
            </a:lvl2pPr>
            <a:lvl3pPr marL="914012" indent="0">
              <a:buNone/>
              <a:defRPr sz="1000"/>
            </a:lvl3pPr>
            <a:lvl4pPr marL="1371020" indent="0">
              <a:buNone/>
              <a:defRPr sz="900"/>
            </a:lvl4pPr>
            <a:lvl5pPr marL="1828025" indent="0">
              <a:buNone/>
              <a:defRPr sz="900"/>
            </a:lvl5pPr>
            <a:lvl6pPr marL="2285032" indent="0">
              <a:buNone/>
              <a:defRPr sz="900"/>
            </a:lvl6pPr>
            <a:lvl7pPr marL="2742037" indent="0">
              <a:buNone/>
              <a:defRPr sz="900"/>
            </a:lvl7pPr>
            <a:lvl8pPr marL="3199044" indent="0">
              <a:buNone/>
              <a:defRPr sz="900"/>
            </a:lvl8pPr>
            <a:lvl9pPr marL="365605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69904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194316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28882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1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368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5458" y="973966"/>
            <a:ext cx="4319587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97441" y="973966"/>
            <a:ext cx="4321175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961960-EB27-451F-8735-C74ED78756F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8676312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8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0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1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2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3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4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5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6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7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8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9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60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61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2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3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92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4" y="1261825"/>
            <a:ext cx="4040188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456" indent="0">
              <a:buNone/>
              <a:defRPr sz="2000" b="1"/>
            </a:lvl2pPr>
            <a:lvl3pPr marL="910937" indent="0">
              <a:buNone/>
              <a:defRPr sz="1800" b="1"/>
            </a:lvl3pPr>
            <a:lvl4pPr marL="1366410" indent="0">
              <a:buNone/>
              <a:defRPr sz="1600" b="1"/>
            </a:lvl4pPr>
            <a:lvl5pPr marL="1821879" indent="0">
              <a:buNone/>
              <a:defRPr sz="1600" b="1"/>
            </a:lvl5pPr>
            <a:lvl6pPr marL="2277349" indent="0">
              <a:buNone/>
              <a:defRPr sz="1600" b="1"/>
            </a:lvl6pPr>
            <a:lvl7pPr marL="2732824" indent="0">
              <a:buNone/>
              <a:defRPr sz="1600" b="1"/>
            </a:lvl7pPr>
            <a:lvl8pPr marL="3188288" indent="0">
              <a:buNone/>
              <a:defRPr sz="1600" b="1"/>
            </a:lvl8pPr>
            <a:lvl9pPr marL="364375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4" y="1631156"/>
            <a:ext cx="404018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70" y="1261825"/>
            <a:ext cx="404177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456" indent="0">
              <a:buNone/>
              <a:defRPr sz="2000" b="1"/>
            </a:lvl2pPr>
            <a:lvl3pPr marL="910937" indent="0">
              <a:buNone/>
              <a:defRPr sz="1800" b="1"/>
            </a:lvl3pPr>
            <a:lvl4pPr marL="1366410" indent="0">
              <a:buNone/>
              <a:defRPr sz="1600" b="1"/>
            </a:lvl4pPr>
            <a:lvl5pPr marL="1821879" indent="0">
              <a:buNone/>
              <a:defRPr sz="1600" b="1"/>
            </a:lvl5pPr>
            <a:lvl6pPr marL="2277349" indent="0">
              <a:buNone/>
              <a:defRPr sz="1600" b="1"/>
            </a:lvl6pPr>
            <a:lvl7pPr marL="2732824" indent="0">
              <a:buNone/>
              <a:defRPr sz="1600" b="1"/>
            </a:lvl7pPr>
            <a:lvl8pPr marL="3188288" indent="0">
              <a:buNone/>
              <a:defRPr sz="1600" b="1"/>
            </a:lvl8pPr>
            <a:lvl9pPr marL="364375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70" y="1631156"/>
            <a:ext cx="404177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4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A64294-FF8F-455A-A144-73E49A4F44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5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390700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4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49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0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1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2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3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4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5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6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7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8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9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16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60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061445-558A-4D6B-914E-CF476B0AF8A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1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8327979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3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48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49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0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1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2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3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6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57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58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440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9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B64F7B-D345-4E07-8A62-5704BB4DBE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0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451794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1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464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45" y="768551"/>
            <a:ext cx="300831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818"/>
            <a:ext cx="51117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45" y="1076325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5456" indent="0">
              <a:buNone/>
              <a:defRPr sz="1200"/>
            </a:lvl2pPr>
            <a:lvl3pPr marL="910937" indent="0">
              <a:buNone/>
              <a:defRPr sz="1000"/>
            </a:lvl3pPr>
            <a:lvl4pPr marL="1366410" indent="0">
              <a:buNone/>
              <a:defRPr sz="900"/>
            </a:lvl4pPr>
            <a:lvl5pPr marL="1821879" indent="0">
              <a:buNone/>
              <a:defRPr sz="900"/>
            </a:lvl5pPr>
            <a:lvl6pPr marL="2277349" indent="0">
              <a:buNone/>
              <a:defRPr sz="900"/>
            </a:lvl6pPr>
            <a:lvl7pPr marL="2732824" indent="0">
              <a:buNone/>
              <a:defRPr sz="900"/>
            </a:lvl7pPr>
            <a:lvl8pPr marL="3188288" indent="0">
              <a:buNone/>
              <a:defRPr sz="900"/>
            </a:lvl8pPr>
            <a:lvl9pPr marL="364375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77F140-B81C-4356-8844-40EEF5CD637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661204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4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6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8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9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0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1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2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4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5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6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7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8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9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0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1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2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3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4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5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8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9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0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1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5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6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7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3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4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5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6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7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8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9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0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1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2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3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4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5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6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7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8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69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0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1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2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3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4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5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6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7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8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79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0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1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2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3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4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5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6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7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8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9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0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1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2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3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4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5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6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7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9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0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1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2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3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4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5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6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8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9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0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1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2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3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4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5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6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7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8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9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0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1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2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3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4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5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6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7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8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9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0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1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2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5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6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7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8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9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0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1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2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3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4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5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6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7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8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9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0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51" name="Freeform 35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52" name="AutoShape 196"/>
          <p:cNvSpPr>
            <a:spLocks noChangeAspect="1" noChangeArrowheads="1" noTextEdit="1"/>
          </p:cNvSpPr>
          <p:nvPr>
            <p:custDataLst>
              <p:tags r:id="rId4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53" name="Group 35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54" name="Rectangle 36"/>
            <p:cNvSpPr>
              <a:spLocks noChangeArrowheads="1"/>
            </p:cNvSpPr>
            <p:nvPr userDrawn="1">
              <p:custDataLst>
                <p:tags r:id="rId11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5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grpSp>
        <p:nvGrpSpPr>
          <p:cNvPr id="156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57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58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159" name="Working Draft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160" name="Printed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graphicFrame>
        <p:nvGraphicFramePr>
          <p:cNvPr id="161" name="AutoShape 218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488" name="think-cell Slide" r:id="rId13" imgW="0" imgH="0" progId="TCLayout.ActiveDocument.1">
                  <p:embed/>
                </p:oleObj>
              </mc:Choice>
              <mc:Fallback>
                <p:oleObj name="think-cell Slide" r:id="rId13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9" y="3717727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9" y="459614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5456" indent="0">
              <a:buNone/>
              <a:defRPr sz="2800"/>
            </a:lvl2pPr>
            <a:lvl3pPr marL="910937" indent="0">
              <a:buNone/>
              <a:defRPr sz="2400"/>
            </a:lvl3pPr>
            <a:lvl4pPr marL="1366410" indent="0">
              <a:buNone/>
              <a:defRPr sz="2000"/>
            </a:lvl4pPr>
            <a:lvl5pPr marL="1821879" indent="0">
              <a:buNone/>
              <a:defRPr sz="2000"/>
            </a:lvl5pPr>
            <a:lvl6pPr marL="2277349" indent="0">
              <a:buNone/>
              <a:defRPr sz="2000"/>
            </a:lvl6pPr>
            <a:lvl7pPr marL="2732824" indent="0">
              <a:buNone/>
              <a:defRPr sz="2000"/>
            </a:lvl7pPr>
            <a:lvl8pPr marL="3188288" indent="0">
              <a:buNone/>
              <a:defRPr sz="2000"/>
            </a:lvl8pPr>
            <a:lvl9pPr marL="3643758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9" y="4025504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5456" indent="0">
              <a:buNone/>
              <a:defRPr sz="1200"/>
            </a:lvl2pPr>
            <a:lvl3pPr marL="910937" indent="0">
              <a:buNone/>
              <a:defRPr sz="1000"/>
            </a:lvl3pPr>
            <a:lvl4pPr marL="1366410" indent="0">
              <a:buNone/>
              <a:defRPr sz="900"/>
            </a:lvl4pPr>
            <a:lvl5pPr marL="1821879" indent="0">
              <a:buNone/>
              <a:defRPr sz="900"/>
            </a:lvl5pPr>
            <a:lvl6pPr marL="2277349" indent="0">
              <a:buNone/>
              <a:defRPr sz="900"/>
            </a:lvl6pPr>
            <a:lvl7pPr marL="2732824" indent="0">
              <a:buNone/>
              <a:defRPr sz="900"/>
            </a:lvl7pPr>
            <a:lvl8pPr marL="3188288" indent="0">
              <a:buNone/>
              <a:defRPr sz="900"/>
            </a:lvl8pPr>
            <a:lvl9pPr marL="364375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2" name="pg num"/>
          <p:cNvSpPr>
            <a:spLocks noGrp="1" noChangeArrowheads="1"/>
          </p:cNvSpPr>
          <p:nvPr>
            <p:ph type="sldNum" sz="quarter" idx="10"/>
            <p:custDataLst>
              <p:tags r:id="rId9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8FF4B1-A39F-4AA9-8536-4B13343964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63" name="doc id"/>
          <p:cNvSpPr>
            <a:spLocks noGrp="1" noChangeArrowheads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82515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0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23" Type="http://schemas.openxmlformats.org/officeDocument/2006/relationships/tags" Target="../tags/tag9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tags" Target="../tags/tag8.xml"/><Relationship Id="rId27" Type="http://schemas.openxmlformats.org/officeDocument/2006/relationships/tags" Target="../tags/tag1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tags" Target="../tags/tag146.xml"/><Relationship Id="rId26" Type="http://schemas.openxmlformats.org/officeDocument/2006/relationships/tags" Target="../tags/tag154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49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tags" Target="../tags/tag145.xml"/><Relationship Id="rId25" Type="http://schemas.openxmlformats.org/officeDocument/2006/relationships/tags" Target="../tags/tag153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44.xml"/><Relationship Id="rId20" Type="http://schemas.openxmlformats.org/officeDocument/2006/relationships/tags" Target="../tags/tag148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52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15.vml"/><Relationship Id="rId23" Type="http://schemas.openxmlformats.org/officeDocument/2006/relationships/tags" Target="../tags/tag151.xml"/><Relationship Id="rId28" Type="http://schemas.openxmlformats.org/officeDocument/2006/relationships/oleObject" Target="../embeddings/oleObject15.bin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147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Relationship Id="rId22" Type="http://schemas.openxmlformats.org/officeDocument/2006/relationships/tags" Target="../tags/tag150.xml"/><Relationship Id="rId27" Type="http://schemas.openxmlformats.org/officeDocument/2006/relationships/tags" Target="../tags/tag15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314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350" y="-16669"/>
            <a:ext cx="9145588" cy="180975"/>
            <a:chOff x="-4" y="-14"/>
            <a:chExt cx="5646" cy="149"/>
          </a:xfrm>
        </p:grpSpPr>
        <p:sp>
          <p:nvSpPr>
            <p:cNvPr id="13330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1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2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3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4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5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6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4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7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8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39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7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0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1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2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3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6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4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3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5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6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4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7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8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49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4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0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5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1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2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5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3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4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5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5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6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7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5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8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59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0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1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2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3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6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4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5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6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6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7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8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6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69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0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1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1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2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5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3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5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4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5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6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7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5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8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6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79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0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1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2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3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4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4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5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6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6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7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8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6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89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0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1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6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2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3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4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5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5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6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4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7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8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6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99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0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2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1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2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5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3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4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4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5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6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7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7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8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4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09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5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0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1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4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2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3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4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5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5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5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6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0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7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8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19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0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1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2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3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4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5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6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7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8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29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38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0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1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6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2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3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4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4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5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7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6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7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8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39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0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1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2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2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3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4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5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6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7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8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49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0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1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2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3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4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5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6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7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8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59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0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9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1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2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3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8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4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5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6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6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8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7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8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69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0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0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1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2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3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474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203" tIns="46098" rIns="92203" bIns="46098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3315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534150" y="-15446"/>
            <a:ext cx="2611438" cy="179785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88" tIns="46293" rIns="92588" bIns="46293"/>
          <a:lstStyle/>
          <a:p>
            <a:endParaRPr lang="ru-RU"/>
          </a:p>
        </p:txBody>
      </p:sp>
      <p:sp>
        <p:nvSpPr>
          <p:cNvPr id="13316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307" y="-20235"/>
            <a:ext cx="9174163" cy="194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90" tIns="45546" rIns="91090" bIns="45546"/>
          <a:lstStyle/>
          <a:p>
            <a:endParaRPr lang="ru-RU"/>
          </a:p>
        </p:txBody>
      </p:sp>
      <p:grpSp>
        <p:nvGrpSpPr>
          <p:cNvPr id="13317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805" y="4962557"/>
            <a:ext cx="9140825" cy="197644"/>
            <a:chOff x="3" y="4085"/>
            <a:chExt cx="5643" cy="163"/>
          </a:xfrm>
        </p:grpSpPr>
        <p:sp>
          <p:nvSpPr>
            <p:cNvPr id="13328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203" tIns="46098" rIns="92203" bIns="46098" anchor="ctr"/>
            <a:lstStyle/>
            <a:p>
              <a:pPr defTabSz="928492"/>
              <a:endParaRPr lang="ru-RU" sz="14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329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32 h 164"/>
                <a:gd name="T4" fmla="*/ 1612 w 1612"/>
                <a:gd name="T5" fmla="*/ 132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10800000" lIns="92939" tIns="46470" rIns="92939" bIns="46470"/>
            <a:lstStyle/>
            <a:p>
              <a:endParaRPr lang="ru-RU"/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400" y="4995894"/>
            <a:ext cx="1905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rgbClr val="FFFFFF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9C4AFA9A-C296-4238-9560-00839A3049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3319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2238" y="176220"/>
            <a:ext cx="8793162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3320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5417" y="973934"/>
            <a:ext cx="8793162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3321" name="McK Slide Elements"/>
          <p:cNvGrpSpPr>
            <a:grpSpLocks/>
          </p:cNvGrpSpPr>
          <p:nvPr/>
        </p:nvGrpSpPr>
        <p:grpSpPr bwMode="auto">
          <a:xfrm>
            <a:off x="125417" y="407194"/>
            <a:ext cx="8793162" cy="4716066"/>
            <a:chOff x="77" y="335"/>
            <a:chExt cx="5429" cy="3882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algn="r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*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Сноска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r>
                <a:rPr lang="en-US" sz="1200" dirty="0" smtClean="0">
                  <a:solidFill>
                    <a:srgbClr val="000000"/>
                  </a:solidFill>
                  <a:cs typeface="Arial" charset="0"/>
                </a:rPr>
                <a:t>:</a:t>
              </a:r>
              <a:r>
                <a:rPr lang="ru-RU" sz="1200" dirty="0" smtClean="0">
                  <a:solidFill>
                    <a:srgbClr val="000000"/>
                  </a:solidFill>
                  <a:cs typeface="Arial" charset="0"/>
                </a:rPr>
                <a:t>	Источник</a:t>
              </a:r>
              <a:endParaRPr lang="en-US" sz="1200" dirty="0" smtClean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208590" y="2063029"/>
            <a:ext cx="1729641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Working Draft - Last Modified 09/06/2006 21:40:09</a:t>
            </a: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85247" y="3216147"/>
            <a:ext cx="976229" cy="9233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algn="r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cs typeface="Arial" charset="0"/>
              </a:rPr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50824" y="27421"/>
            <a:ext cx="180658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rgbClr val="FFFFFF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3325" name="AutoShape 218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1593" y="4"/>
          <a:ext cx="161925" cy="1214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7"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0" name="AutoShape 21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3" y="4"/>
                        <a:ext cx="161925" cy="12144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6543" r:id="rId1"/>
    <p:sldLayoutId id="2147486544" r:id="rId2"/>
    <p:sldLayoutId id="2147486545" r:id="rId3"/>
    <p:sldLayoutId id="2147486546" r:id="rId4"/>
    <p:sldLayoutId id="2147486547" r:id="rId5"/>
    <p:sldLayoutId id="2147486548" r:id="rId6"/>
    <p:sldLayoutId id="2147486549" r:id="rId7"/>
    <p:sldLayoutId id="2147486550" r:id="rId8"/>
    <p:sldLayoutId id="2147486551" r:id="rId9"/>
    <p:sldLayoutId id="2147486552" r:id="rId10"/>
    <p:sldLayoutId id="2147486553" r:id="rId11"/>
    <p:sldLayoutId id="2147486554" r:id="rId12"/>
    <p:sldLayoutId id="2147486555" r:id="rId13"/>
  </p:sldLayoutIdLst>
  <p:hf sldNum="0" hdr="0" ftr="0" dt="0"/>
  <p:txStyles>
    <p:titleStyle>
      <a:lvl1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07928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5456" algn="l" defTabSz="90935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0937" algn="l" defTabSz="90935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6410" algn="l" defTabSz="90935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1879" algn="l" defTabSz="909357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6402" indent="-346402" algn="l" defTabSz="907928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5522" indent="-143938" algn="l" defTabSz="907928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8955" indent="-150272" algn="l" defTabSz="907928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8144" indent="-136036" algn="l" defTabSz="907928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90011" indent="-148685" algn="l" defTabSz="907928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46961" indent="-150246" algn="l" defTabSz="9093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502408" indent="-150246" algn="l" defTabSz="9093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7880" indent="-150246" algn="l" defTabSz="9093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3358" indent="-150246" algn="l" defTabSz="9093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456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937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6410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1879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7349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2824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8288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3758" algn="l" defTabSz="910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8" name="Group 343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-6990" y="-16883"/>
            <a:ext cx="9146796" cy="181205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3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9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6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6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7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2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3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1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3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6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8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6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6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8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2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7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2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4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6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41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5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4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7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7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7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41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6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5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7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5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6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3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8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3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6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3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6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4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28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5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1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1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1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7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8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8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3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8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6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7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7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7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1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102186" tIns="51096" rIns="102186" bIns="51096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534025" y="-15750"/>
            <a:ext cx="2611373" cy="180079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</p:spPr>
        <p:txBody>
          <a:bodyPr lIns="84095" tIns="42054" rIns="84095" bIns="42054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" name="AutoShape 196"/>
          <p:cNvSpPr>
            <a:spLocks noChangeAspect="1" noChangeArrowheads="1" noTextEdit="1"/>
          </p:cNvSpPr>
          <p:nvPr>
            <p:custDataLst>
              <p:tags r:id="rId18"/>
            </p:custDataLst>
          </p:nvPr>
        </p:nvSpPr>
        <p:spPr bwMode="auto">
          <a:xfrm>
            <a:off x="-6966" y="-20256"/>
            <a:ext cx="9174755" cy="193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779" tIns="41395" rIns="82779" bIns="41395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1031" name="Group 355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4198" y="4962296"/>
            <a:ext cx="9141203" cy="198087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7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wrap="none" lIns="102186" tIns="51096" rIns="102186" bIns="51096" anchor="ctr"/>
            <a:lstStyle/>
            <a:p>
              <a:pPr defTabSz="931279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400">
                <a:solidFill>
                  <a:srgbClr val="000000"/>
                </a:solidFill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56 h 164"/>
                <a:gd name="T4" fmla="*/ 1612 w 1612"/>
                <a:gd name="T5" fmla="*/ 156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</p:spPr>
          <p:txBody>
            <a:bodyPr rot="10800000" lIns="92891" tIns="46449" rIns="92891" bIns="46449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600">
                <a:solidFill>
                  <a:srgbClr val="000000"/>
                </a:solidFill>
                <a:latin typeface="Arial" charset="0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auto">
          <a:xfrm>
            <a:off x="7010727" y="4996064"/>
            <a:ext cx="190401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89576AD-9E96-4D29-BD87-D7E1B0AE1714}" type="slidenum">
              <a:rPr lang="ru-RU" smtClean="0">
                <a:solidFill>
                  <a:srgbClr val="FFFFF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33" name="Rectangle 2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21623" y="176718"/>
            <a:ext cx="8793114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1034" name="Rectangle 3"/>
          <p:cNvSpPr>
            <a:spLocks noGrp="1" noChangeArrowheads="1"/>
          </p:cNvSpPr>
          <p:nvPr>
            <p:ph type="body" idx="1"/>
            <p:custDataLst>
              <p:tags r:id="rId22"/>
            </p:custDataLst>
          </p:nvPr>
        </p:nvSpPr>
        <p:spPr bwMode="auto">
          <a:xfrm>
            <a:off x="125819" y="973569"/>
            <a:ext cx="8793114" cy="1738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grpSp>
        <p:nvGrpSpPr>
          <p:cNvPr id="1035" name="McK Slide Elements"/>
          <p:cNvGrpSpPr>
            <a:grpSpLocks/>
          </p:cNvGrpSpPr>
          <p:nvPr/>
        </p:nvGrpSpPr>
        <p:grpSpPr bwMode="auto">
          <a:xfrm>
            <a:off x="125819" y="407433"/>
            <a:ext cx="8793114" cy="4715813"/>
            <a:chOff x="77" y="335"/>
            <a:chExt cx="5429" cy="3882"/>
          </a:xfrm>
        </p:grpSpPr>
        <p:sp>
          <p:nvSpPr>
            <p:cNvPr id="4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2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911149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>
                  <a:solidFill>
                    <a:srgbClr val="000000"/>
                  </a:solidFill>
                </a:rPr>
                <a:t>Unit of measure</a:t>
              </a:r>
            </a:p>
          </p:txBody>
        </p:sp>
        <p:sp>
          <p:nvSpPr>
            <p:cNvPr id="5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883"/>
              <a:ext cx="5145" cy="3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20613" indent="-820613" defTabSz="911149" fontAlgn="auto">
                <a:spcBef>
                  <a:spcPts val="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</a:t>
              </a:r>
              <a:r>
                <a:rPr lang="en-US" sz="1200">
                  <a:solidFill>
                    <a:srgbClr val="000000"/>
                  </a:solidFill>
                </a:rPr>
                <a:t>*</a:t>
              </a:r>
              <a:r>
                <a:rPr lang="ru-RU" sz="1200">
                  <a:solidFill>
                    <a:srgbClr val="000000"/>
                  </a:solidFill>
                </a:rPr>
                <a:t>	Сноска</a:t>
              </a:r>
              <a:endParaRPr lang="en-US" sz="1200">
                <a:solidFill>
                  <a:srgbClr val="000000"/>
                </a:solidFill>
              </a:endParaRPr>
            </a:p>
            <a:p>
              <a:pPr marL="820613" indent="-820613" defTabSz="911149" fontAlgn="auto">
                <a:spcBef>
                  <a:spcPct val="20000"/>
                </a:spcBef>
                <a:spcAft>
                  <a:spcPts val="0"/>
                </a:spcAft>
                <a:tabLst>
                  <a:tab pos="730073" algn="r"/>
                </a:tabLst>
                <a:defRPr/>
              </a:pP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r>
                <a:rPr lang="en-US" sz="1200">
                  <a:solidFill>
                    <a:srgbClr val="000000"/>
                  </a:solidFill>
                </a:rPr>
                <a:t>:</a:t>
              </a:r>
              <a:r>
                <a:rPr lang="ru-RU" sz="1200">
                  <a:solidFill>
                    <a:srgbClr val="000000"/>
                  </a:solidFill>
                </a:rPr>
                <a:t>	Источник</a:t>
              </a:r>
              <a:endParaRPr lang="en-US" sz="1200">
                <a:solidFill>
                  <a:srgbClr val="000000"/>
                </a:solidFill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208614" y="2063006"/>
            <a:ext cx="1729641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585293" y="3216637"/>
            <a:ext cx="976229" cy="923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defTabSz="931279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>
                <a:solidFill>
                  <a:srgbClr val="000000"/>
                </a:solidFill>
              </a:rPr>
              <a:t>Printed 08/06/2006 17:52:59</a:t>
            </a: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3"/>
            <p:custDataLst>
              <p:tags r:id="rId25"/>
            </p:custDataLst>
          </p:nvPr>
        </p:nvSpPr>
        <p:spPr bwMode="auto">
          <a:xfrm>
            <a:off x="151000" y="27033"/>
            <a:ext cx="180658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FFFFFF"/>
                </a:solidFill>
              </a:rPr>
              <a:t>MOS-ROS005-200600608-SS1wm-r_c</a:t>
            </a:r>
            <a:endParaRPr lang="ru-RU" dirty="0">
              <a:solidFill>
                <a:srgbClr val="FFFFFF"/>
              </a:solidFill>
            </a:endParaRPr>
          </a:p>
        </p:txBody>
      </p:sp>
      <p:graphicFrame>
        <p:nvGraphicFramePr>
          <p:cNvPr id="1026" name="Rectangle 38" hidden="1"/>
          <p:cNvGraphicFramePr>
            <a:graphicFrameLocks/>
          </p:cNvGraphicFramePr>
          <p:nvPr>
            <p:custDataLst>
              <p:tags r:id="rId26"/>
            </p:custDataLst>
          </p:nvPr>
        </p:nvGraphicFramePr>
        <p:xfrm>
          <a:off x="6995" y="9"/>
          <a:ext cx="150979" cy="1215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345" name="think-cell Slide" r:id="rId28" imgW="0" imgH="0" progId="TCLayout.ActiveDocument.1">
                  <p:embed/>
                </p:oleObj>
              </mc:Choice>
              <mc:Fallback>
                <p:oleObj name="think-cell Slide" r:id="rId2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95" y="9"/>
                        <a:ext cx="150979" cy="12155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82997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02" r:id="rId1"/>
    <p:sldLayoutId id="2147486603" r:id="rId2"/>
    <p:sldLayoutId id="2147486604" r:id="rId3"/>
    <p:sldLayoutId id="2147486605" r:id="rId4"/>
    <p:sldLayoutId id="2147486606" r:id="rId5"/>
    <p:sldLayoutId id="2147486607" r:id="rId6"/>
    <p:sldLayoutId id="2147486608" r:id="rId7"/>
    <p:sldLayoutId id="2147486609" r:id="rId8"/>
    <p:sldLayoutId id="2147486610" r:id="rId9"/>
    <p:sldLayoutId id="2147486611" r:id="rId10"/>
    <p:sldLayoutId id="2147486612" r:id="rId11"/>
    <p:sldLayoutId id="2147486613" r:id="rId12"/>
    <p:sldLayoutId id="2147486614" r:id="rId13"/>
  </p:sldLayoutIdLst>
  <p:hf sldNum="0" hdr="0" ftr="0" dt="0"/>
  <p:txStyles>
    <p:titleStyle>
      <a:lvl1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139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827800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241698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655596" algn="l" defTabSz="91114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7790" indent="-3477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900">
          <a:solidFill>
            <a:schemeClr val="tx1"/>
          </a:solidFill>
          <a:latin typeface="+mn-lt"/>
          <a:ea typeface="+mn-ea"/>
          <a:cs typeface="+mn-cs"/>
        </a:defRPr>
      </a:lvl1pPr>
      <a:lvl2pPr marL="148029" indent="-146590" algn="l" defTabSz="911149" rtl="0" eaLnBrk="1" fontAlgn="base" hangingPunct="1">
        <a:spcBef>
          <a:spcPct val="0"/>
        </a:spcBef>
        <a:spcAft>
          <a:spcPct val="0"/>
        </a:spcAft>
        <a:buSzPct val="120000"/>
        <a:buChar char="•"/>
        <a:defRPr sz="2600">
          <a:solidFill>
            <a:schemeClr val="tx1"/>
          </a:solidFill>
          <a:latin typeface="+mn-lt"/>
        </a:defRPr>
      </a:lvl2pPr>
      <a:lvl3pPr marL="300363" indent="-150901" algn="l" defTabSz="911149" rtl="0" eaLnBrk="1" fontAlgn="base" hangingPunct="1">
        <a:spcBef>
          <a:spcPct val="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3pPr>
      <a:lvl4pPr marL="439769" indent="-136532" algn="l" defTabSz="911149" rtl="0" eaLnBrk="1" fontAlgn="base" hangingPunct="1">
        <a:spcBef>
          <a:spcPct val="0"/>
        </a:spcBef>
        <a:spcAft>
          <a:spcPct val="0"/>
        </a:spcAft>
        <a:buSzPct val="89000"/>
        <a:buChar char="•"/>
        <a:defRPr sz="1800">
          <a:solidFill>
            <a:schemeClr val="tx1"/>
          </a:solidFill>
          <a:latin typeface="+mn-lt"/>
        </a:defRPr>
      </a:lvl4pPr>
      <a:lvl5pPr marL="592112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 sz="1800">
          <a:solidFill>
            <a:schemeClr val="tx1"/>
          </a:solidFill>
          <a:latin typeface="+mn-lt"/>
        </a:defRPr>
      </a:lvl5pPr>
      <a:lvl6pPr marL="1006005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6pPr>
      <a:lvl7pPr marL="1419904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7pPr>
      <a:lvl8pPr marL="1833798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8pPr>
      <a:lvl9pPr marL="2247700" indent="-149463" algn="l" defTabSz="911149" rtl="0" eaLnBrk="1" fontAlgn="base" hangingPunct="1">
        <a:spcBef>
          <a:spcPct val="0"/>
        </a:spcBef>
        <a:spcAft>
          <a:spcPct val="0"/>
        </a:spcAft>
        <a:buSzPct val="75000"/>
        <a:buChar char="–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39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7800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41698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55596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694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83392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97293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191" algn="l" defTabSz="8278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02" tIns="45701" rIns="91402" bIns="45701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4"/>
            <a:ext cx="8229600" cy="3394472"/>
          </a:xfrm>
          <a:prstGeom prst="rect">
            <a:avLst/>
          </a:prstGeom>
        </p:spPr>
        <p:txBody>
          <a:bodyPr vert="horz" lIns="91402" tIns="45701" rIns="91402" bIns="4570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1" y="4767263"/>
            <a:ext cx="2895600" cy="273844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MOS-ROS005-200600608-SS1wm-r_c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02" tIns="45701" rIns="91402" bIns="45701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F75A29-C51F-4DAC-B821-A9D05263BE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6669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632" r:id="rId1"/>
    <p:sldLayoutId id="2147486633" r:id="rId2"/>
    <p:sldLayoutId id="2147486634" r:id="rId3"/>
    <p:sldLayoutId id="2147486635" r:id="rId4"/>
    <p:sldLayoutId id="2147486636" r:id="rId5"/>
    <p:sldLayoutId id="2147486637" r:id="rId6"/>
    <p:sldLayoutId id="2147486638" r:id="rId7"/>
    <p:sldLayoutId id="2147486639" r:id="rId8"/>
    <p:sldLayoutId id="2147486640" r:id="rId9"/>
    <p:sldLayoutId id="2147486641" r:id="rId10"/>
    <p:sldLayoutId id="2147486642" r:id="rId11"/>
  </p:sldLayoutIdLst>
  <p:hf sldNum="0" hdr="0" ftr="0" dt="0"/>
  <p:txStyles>
    <p:titleStyle>
      <a:lvl1pPr algn="ctr" defTabSz="914012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754" indent="-342754" algn="l" defTabSz="914012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636" indent="-285630" algn="l" defTabSz="914012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515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21" indent="-228502" algn="l" defTabSz="914012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528" indent="-228502" algn="l" defTabSz="914012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34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40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47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52" indent="-228502" algn="l" defTabSz="91401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25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32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37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44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50" algn="l" defTabSz="9140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215.xml"/><Relationship Id="rId7" Type="http://schemas.openxmlformats.org/officeDocument/2006/relationships/image" Target="../media/image2.emf"/><Relationship Id="rId2" Type="http://schemas.openxmlformats.org/officeDocument/2006/relationships/tags" Target="../tags/tag214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5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17.xml"/><Relationship Id="rId7" Type="http://schemas.openxmlformats.org/officeDocument/2006/relationships/image" Target="../media/image2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6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219.xml"/><Relationship Id="rId7" Type="http://schemas.openxmlformats.org/officeDocument/2006/relationships/image" Target="../media/image2.emf"/><Relationship Id="rId2" Type="http://schemas.openxmlformats.org/officeDocument/2006/relationships/tags" Target="../tags/tag218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221.xml"/><Relationship Id="rId7" Type="http://schemas.openxmlformats.org/officeDocument/2006/relationships/image" Target="../media/image2.emf"/><Relationship Id="rId2" Type="http://schemas.openxmlformats.org/officeDocument/2006/relationships/tags" Target="../tags/tag220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.bin"/><Relationship Id="rId3" Type="http://schemas.openxmlformats.org/officeDocument/2006/relationships/tags" Target="../tags/tag18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7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1.xml"/><Relationship Id="rId10" Type="http://schemas.openxmlformats.org/officeDocument/2006/relationships/chart" Target="../charts/chart1.xml"/><Relationship Id="rId4" Type="http://schemas.openxmlformats.org/officeDocument/2006/relationships/tags" Target="../tags/tag190.xml"/><Relationship Id="rId9" Type="http://schemas.openxmlformats.org/officeDocument/2006/relationships/image" Target="../media/image2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9.vml"/><Relationship Id="rId4" Type="http://schemas.openxmlformats.org/officeDocument/2006/relationships/image" Target="../media/image12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93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8.v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.png"/><Relationship Id="rId5" Type="http://schemas.openxmlformats.org/officeDocument/2006/relationships/tags" Target="../tags/tag195.xml"/><Relationship Id="rId10" Type="http://schemas.openxmlformats.org/officeDocument/2006/relationships/image" Target="../media/image3.png"/><Relationship Id="rId4" Type="http://schemas.openxmlformats.org/officeDocument/2006/relationships/tags" Target="../tags/tag194.xml"/><Relationship Id="rId9" Type="http://schemas.openxmlformats.org/officeDocument/2006/relationships/image" Target="../media/image2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2.emf"/><Relationship Id="rId2" Type="http://schemas.openxmlformats.org/officeDocument/2006/relationships/tags" Target="../tags/tag222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197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9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199.xml"/><Relationship Id="rId10" Type="http://schemas.openxmlformats.org/officeDocument/2006/relationships/image" Target="../media/image5.png"/><Relationship Id="rId4" Type="http://schemas.openxmlformats.org/officeDocument/2006/relationships/tags" Target="../tags/tag198.xml"/><Relationship Id="rId9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201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20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3.xml"/><Relationship Id="rId10" Type="http://schemas.openxmlformats.org/officeDocument/2006/relationships/image" Target="../media/image6.png"/><Relationship Id="rId4" Type="http://schemas.openxmlformats.org/officeDocument/2006/relationships/tags" Target="../tags/tag202.xml"/><Relationship Id="rId9" Type="http://schemas.openxmlformats.org/officeDocument/2006/relationships/image" Target="../media/image2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205.xml"/><Relationship Id="rId7" Type="http://schemas.openxmlformats.org/officeDocument/2006/relationships/notesSlide" Target="../notesSlides/notesSlide6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21.v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207.xml"/><Relationship Id="rId4" Type="http://schemas.openxmlformats.org/officeDocument/2006/relationships/tags" Target="../tags/tag206.xml"/><Relationship Id="rId9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209.xml"/><Relationship Id="rId7" Type="http://schemas.openxmlformats.org/officeDocument/2006/relationships/image" Target="../media/image2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tags" Target="../tags/tag211.xml"/><Relationship Id="rId7" Type="http://schemas.openxmlformats.org/officeDocument/2006/relationships/image" Target="../media/image2.emf"/><Relationship Id="rId2" Type="http://schemas.openxmlformats.org/officeDocument/2006/relationships/tags" Target="../tags/tag21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13.xml"/><Relationship Id="rId7" Type="http://schemas.openxmlformats.org/officeDocument/2006/relationships/image" Target="../media/image2.emf"/><Relationship Id="rId2" Type="http://schemas.openxmlformats.org/officeDocument/2006/relationships/tags" Target="../tags/tag212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118" y="161925"/>
            <a:ext cx="4509940" cy="4790994"/>
          </a:xfrm>
          <a:prstGeom prst="rect">
            <a:avLst/>
          </a:prstGeom>
        </p:spPr>
      </p:pic>
      <p:sp>
        <p:nvSpPr>
          <p:cNvPr id="99332" name="Rectangle 3"/>
          <p:cNvSpPr>
            <a:spLocks noChangeArrowheads="1"/>
          </p:cNvSpPr>
          <p:nvPr/>
        </p:nvSpPr>
        <p:spPr bwMode="auto">
          <a:xfrm>
            <a:off x="0" y="161925"/>
            <a:ext cx="9144000" cy="547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372" tIns="46184" rIns="92372" bIns="46184">
            <a:spAutoFit/>
          </a:bodyPr>
          <a:lstStyle/>
          <a:p>
            <a:pPr algn="ctr" defTabSz="927460" fontAlgn="base">
              <a:spcBef>
                <a:spcPct val="0"/>
              </a:spcBef>
              <a:spcAft>
                <a:spcPct val="0"/>
              </a:spcAft>
            </a:pPr>
            <a:endParaRPr lang="ru-RU" sz="3700" b="1" dirty="0" smtClean="0">
              <a:solidFill>
                <a:srgbClr val="002960"/>
              </a:solidFill>
              <a:latin typeface="Arial" pitchFamily="34" charset="0"/>
              <a:cs typeface="Arial" pitchFamily="34" charset="0"/>
            </a:endParaRPr>
          </a:p>
          <a:p>
            <a:pPr algn="ctr" defTabSz="927460" fontAlgn="base">
              <a:spcBef>
                <a:spcPct val="0"/>
              </a:spcBef>
              <a:spcAft>
                <a:spcPct val="0"/>
              </a:spcAft>
            </a:pPr>
            <a:endParaRPr lang="ru-RU" sz="3700" b="1" dirty="0" smtClean="0">
              <a:solidFill>
                <a:srgbClr val="002960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3200" b="1" dirty="0" smtClean="0"/>
              <a:t> </a:t>
            </a: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Социально-экономическая </a:t>
            </a:r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ситуация</a:t>
            </a:r>
          </a:p>
          <a:p>
            <a:pPr algn="ctr"/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 </a:t>
            </a: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в Иркутской </a:t>
            </a:r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области и </a:t>
            </a: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актуальные задачи органов местного самоуправления</a:t>
            </a:r>
            <a:b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</a:b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муниципальных </a:t>
            </a:r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образований</a:t>
            </a:r>
          </a:p>
          <a:p>
            <a:pPr algn="ctr"/>
            <a:r>
              <a:rPr lang="ru-RU" sz="3200" b="1" dirty="0" smtClean="0">
                <a:solidFill>
                  <a:schemeClr val="accent5">
                    <a:lumMod val="25000"/>
                  </a:schemeClr>
                </a:solidFill>
              </a:rPr>
              <a:t> </a:t>
            </a:r>
            <a:r>
              <a:rPr lang="ru-RU" sz="3200" b="1" dirty="0">
                <a:solidFill>
                  <a:schemeClr val="accent5">
                    <a:lumMod val="25000"/>
                  </a:schemeClr>
                </a:solidFill>
              </a:rPr>
              <a:t>в современных условиях</a:t>
            </a:r>
            <a:endParaRPr lang="ru-RU" sz="3200" dirty="0">
              <a:solidFill>
                <a:schemeClr val="accent5">
                  <a:lumMod val="25000"/>
                </a:schemeClr>
              </a:solidFill>
            </a:endParaRPr>
          </a:p>
          <a:p>
            <a:pPr algn="ctr" defTabSz="927460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2960"/>
              </a:solidFill>
              <a:latin typeface="Arial" pitchFamily="34" charset="0"/>
              <a:cs typeface="Arial" pitchFamily="34" charset="0"/>
            </a:endParaRPr>
          </a:p>
          <a:p>
            <a:pPr algn="ctr" defTabSz="927460"/>
            <a:endParaRPr lang="ru-RU" sz="2000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27460"/>
            <a:endParaRPr lang="ru-RU" sz="2000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27460"/>
            <a:endParaRPr lang="ru-RU" sz="2000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27460"/>
            <a:endParaRPr lang="ru-RU" sz="2000" b="1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27460"/>
            <a:endParaRPr lang="ru-RU" sz="2000" b="1" dirty="0">
              <a:solidFill>
                <a:srgbClr val="00296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7764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Овал 17"/>
          <p:cNvSpPr/>
          <p:nvPr/>
        </p:nvSpPr>
        <p:spPr bwMode="auto">
          <a:xfrm>
            <a:off x="4274145" y="2443336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Овал 14"/>
          <p:cNvSpPr/>
          <p:nvPr/>
        </p:nvSpPr>
        <p:spPr bwMode="auto">
          <a:xfrm>
            <a:off x="5130705" y="2958584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Овал 15"/>
          <p:cNvSpPr/>
          <p:nvPr/>
        </p:nvSpPr>
        <p:spPr bwMode="auto">
          <a:xfrm>
            <a:off x="5578068" y="3447176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Овал 16"/>
          <p:cNvSpPr/>
          <p:nvPr/>
        </p:nvSpPr>
        <p:spPr bwMode="auto">
          <a:xfrm>
            <a:off x="4918860" y="3956701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23825" y="214971"/>
            <a:ext cx="8934450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зи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5159" y="670093"/>
            <a:ext cx="8913115" cy="830997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dirty="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 2015 году число родившихся на территории Иркутской области составило </a:t>
            </a:r>
            <a:r>
              <a:rPr lang="ru-RU" sz="1600" b="1" i="1" dirty="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37 143 </a:t>
            </a:r>
            <a:r>
              <a:rPr lang="ru-RU" sz="1600" dirty="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а, что на 287 человек больше, чем в 2014 году. Естественный прирост населения </a:t>
            </a:r>
            <a:r>
              <a:rPr lang="ru-RU" sz="1600" dirty="0" err="1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ангарья</a:t>
            </a:r>
            <a:r>
              <a:rPr lang="ru-RU" sz="1600" dirty="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в 2015 году составил </a:t>
            </a:r>
            <a:r>
              <a:rPr lang="ru-RU" sz="1600" b="1" i="1" dirty="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4 102 </a:t>
            </a:r>
            <a:r>
              <a:rPr lang="ru-RU" sz="1600" dirty="0" smtClean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а. </a:t>
            </a:r>
            <a:endParaRPr lang="ru-RU" sz="16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4991831"/>
              </p:ext>
            </p:extLst>
          </p:nvPr>
        </p:nvGraphicFramePr>
        <p:xfrm>
          <a:off x="1123950" y="1924051"/>
          <a:ext cx="7258050" cy="2888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098147" y="1576614"/>
            <a:ext cx="47186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тественное движение населения Иркутской области </a:t>
            </a:r>
            <a:endParaRPr lang="ru-RU" sz="14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913193" y="3978331"/>
            <a:ext cx="657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3 200</a:t>
            </a:r>
            <a:endParaRPr lang="ru-RU" sz="1200" b="1" dirty="0">
              <a:solidFill>
                <a:srgbClr val="008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78068" y="3468806"/>
            <a:ext cx="657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4 916</a:t>
            </a:r>
            <a:endParaRPr lang="ru-RU" sz="1200" b="1" dirty="0">
              <a:solidFill>
                <a:srgbClr val="008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236045" y="2464966"/>
            <a:ext cx="657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3 729</a:t>
            </a:r>
            <a:endParaRPr lang="ru-RU" sz="1200" b="1" dirty="0">
              <a:solidFill>
                <a:srgbClr val="00800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098860" y="2960053"/>
            <a:ext cx="8589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4 875</a:t>
            </a:r>
            <a:endParaRPr lang="ru-RU" sz="1200" b="1" dirty="0">
              <a:solidFill>
                <a:srgbClr val="008000"/>
              </a:solidFill>
            </a:endParaRPr>
          </a:p>
        </p:txBody>
      </p:sp>
      <p:sp>
        <p:nvSpPr>
          <p:cNvPr id="5" name="Овал 4"/>
          <p:cNvSpPr/>
          <p:nvPr/>
        </p:nvSpPr>
        <p:spPr bwMode="auto">
          <a:xfrm>
            <a:off x="4615431" y="1939184"/>
            <a:ext cx="657552" cy="3202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15431" y="1960814"/>
            <a:ext cx="6575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008000"/>
                </a:solidFill>
              </a:rPr>
              <a:t>+4 102</a:t>
            </a:r>
            <a:endParaRPr lang="ru-RU" sz="1200" b="1" dirty="0">
              <a:solidFill>
                <a:srgbClr val="008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3318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714163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5160" y="701584"/>
            <a:ext cx="893216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водный индекс потребительских цен на все товары и услуг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15 году составил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4,1 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16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45160" y="220392"/>
            <a:ext cx="893216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направлен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47980382"/>
              </p:ext>
            </p:extLst>
          </p:nvPr>
        </p:nvGraphicFramePr>
        <p:xfrm>
          <a:off x="1099914" y="1457325"/>
          <a:ext cx="6643912" cy="34990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194109" y="1112560"/>
            <a:ext cx="70796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декс потребительских цен к декабрю предыдущего года, %</a:t>
            </a:r>
            <a:endParaRPr lang="ru-RU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795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45160" y="232386"/>
            <a:ext cx="893216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направлен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45160" y="570940"/>
            <a:ext cx="8932165" cy="73866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днемесячная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работная плата работников Иркутской области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за январь – февраль  2016 года, по оценке, составила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2 283,8 руб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, что на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6,9 %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ыше, чем за аналогичный период 2015 года.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льная заработная плата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рассчитанная с учетом индекса потребительских цен, составила к январю – февралю 2015 года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7,8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.</a:t>
            </a:r>
            <a:endParaRPr lang="ru-RU" sz="14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07234" name="Picture 2" descr="http://www.irkzan.ru/mediafiles/downfile.ashx?fileid=6438bc8d-5e12-427d-803e-8c01aee8728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847" y="1854475"/>
            <a:ext cx="5960703" cy="302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45160" y="1309604"/>
            <a:ext cx="89321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днемесячная заработная плата по отраслям экономики </a:t>
            </a:r>
            <a:br>
              <a:rPr lang="ru-RU" sz="14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4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ркутской области за январь 2016 года</a:t>
            </a:r>
            <a:endParaRPr lang="ru-RU" sz="1400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7330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510272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0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5160" y="232386"/>
            <a:ext cx="8922640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нонаправлен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5158" y="684472"/>
            <a:ext cx="8922641" cy="830997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ктуре бюджета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житочного минимума в </a:t>
            </a:r>
            <a:r>
              <a:rPr lang="en-US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V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вартале 2015 год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в целом по Иркутской области на душу населения –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 814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) расходы на питание составили –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46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непродовольственные товары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4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услуги –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3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, налоги и другие обязательные платежи –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Rectangle 13"/>
          <p:cNvSpPr>
            <a:spLocks noChangeArrowheads="1"/>
          </p:cNvSpPr>
          <p:nvPr/>
        </p:nvSpPr>
        <p:spPr bwMode="auto">
          <a:xfrm>
            <a:off x="1846263" y="87947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207286"/>
              </p:ext>
            </p:extLst>
          </p:nvPr>
        </p:nvGraphicFramePr>
        <p:xfrm>
          <a:off x="547287" y="1781173"/>
          <a:ext cx="8001000" cy="272415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68245"/>
                <a:gridCol w="1461420"/>
                <a:gridCol w="1540417"/>
                <a:gridCol w="1730918"/>
              </a:tblGrid>
              <a:tr h="389906">
                <a:tc rowSpan="2"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4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житочный минимум:</a:t>
                      </a:r>
                      <a:endParaRPr lang="ru-RU" sz="1400" b="1" u="none" strike="noStrike" kern="1200" dirty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квартал 2015 г., рублей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ctr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% к: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46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-му кварталу            2015 г.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ответствующему периоду прошлого года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</a:tr>
              <a:tr h="389906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среднем на душу населения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81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9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,7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</a:tr>
              <a:tr h="389906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рудоспособное население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410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9,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,4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</a:tr>
              <a:tr h="389906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нсионеры 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894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9,1</a:t>
                      </a:r>
                      <a:endParaRPr lang="ru-RU" sz="14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,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</a:tr>
              <a:tr h="389906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и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02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6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5,3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412" marR="7412" marT="7412" marB="0" anchor="b"/>
                </a:tc>
              </a:tr>
            </a:tbl>
          </a:graphicData>
        </a:graphic>
      </p:graphicFrame>
      <p:sp>
        <p:nvSpPr>
          <p:cNvPr id="15" name="Стрелка вниз 14"/>
          <p:cNvSpPr/>
          <p:nvPr/>
        </p:nvSpPr>
        <p:spPr bwMode="auto">
          <a:xfrm>
            <a:off x="6586536" y="3790949"/>
            <a:ext cx="123825" cy="238125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Стрелка вниз 15"/>
          <p:cNvSpPr/>
          <p:nvPr/>
        </p:nvSpPr>
        <p:spPr bwMode="auto">
          <a:xfrm>
            <a:off x="6724645" y="3448047"/>
            <a:ext cx="123825" cy="238125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Стрелка вниз 16"/>
          <p:cNvSpPr/>
          <p:nvPr/>
        </p:nvSpPr>
        <p:spPr bwMode="auto">
          <a:xfrm>
            <a:off x="6596061" y="3067050"/>
            <a:ext cx="123825" cy="238125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Стрелка вверх 11"/>
          <p:cNvSpPr/>
          <p:nvPr/>
        </p:nvSpPr>
        <p:spPr bwMode="auto">
          <a:xfrm>
            <a:off x="8309760" y="3448047"/>
            <a:ext cx="93663" cy="238125"/>
          </a:xfrm>
          <a:prstGeom prst="upArrow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Стрелка вверх 19"/>
          <p:cNvSpPr/>
          <p:nvPr/>
        </p:nvSpPr>
        <p:spPr bwMode="auto">
          <a:xfrm>
            <a:off x="8143077" y="3871910"/>
            <a:ext cx="93663" cy="238125"/>
          </a:xfrm>
          <a:prstGeom prst="upArrow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Стрелка вверх 20"/>
          <p:cNvSpPr/>
          <p:nvPr/>
        </p:nvSpPr>
        <p:spPr bwMode="auto">
          <a:xfrm>
            <a:off x="8309760" y="4233862"/>
            <a:ext cx="93663" cy="238125"/>
          </a:xfrm>
          <a:prstGeom prst="upArrow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Стрелка вверх 21"/>
          <p:cNvSpPr/>
          <p:nvPr/>
        </p:nvSpPr>
        <p:spPr bwMode="auto">
          <a:xfrm>
            <a:off x="8143077" y="3067050"/>
            <a:ext cx="93663" cy="238125"/>
          </a:xfrm>
          <a:prstGeom prst="upArrow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Стрелка вверх 22"/>
          <p:cNvSpPr/>
          <p:nvPr/>
        </p:nvSpPr>
        <p:spPr bwMode="auto">
          <a:xfrm>
            <a:off x="6634954" y="4267200"/>
            <a:ext cx="93663" cy="238125"/>
          </a:xfrm>
          <a:prstGeom prst="upArrow">
            <a:avLst/>
          </a:prstGeom>
          <a:solidFill>
            <a:srgbClr val="0080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106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434647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807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5157" y="293896"/>
            <a:ext cx="8884543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Фактическое исполнение областного бюджета в 2015 году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доходам составило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4,4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лрд руб., или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9,7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т плана, исполнение по расходам составило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13,3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лрд руб., или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8, 1%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 плана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8246686"/>
              </p:ext>
            </p:extLst>
          </p:nvPr>
        </p:nvGraphicFramePr>
        <p:xfrm>
          <a:off x="1114425" y="1104900"/>
          <a:ext cx="7067550" cy="367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107486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61903851"/>
              </p:ext>
            </p:extLst>
          </p:nvPr>
        </p:nvGraphicFramePr>
        <p:xfrm>
          <a:off x="457200" y="485775"/>
          <a:ext cx="8258175" cy="4095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191806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00100" y="186035"/>
            <a:ext cx="71437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ределение расходов областного бюджета </a:t>
            </a:r>
            <a:endParaRPr lang="ru-RU" sz="1600" b="1" i="1" dirty="0" smtClean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r>
              <a:rPr lang="ru-RU" sz="16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ой структуре в 2015 </a:t>
            </a:r>
            <a:r>
              <a:rPr lang="ru-RU" sz="16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у, млн руб.</a:t>
            </a:r>
            <a:endParaRPr lang="ru-RU" sz="1600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47518659"/>
              </p:ext>
            </p:extLst>
          </p:nvPr>
        </p:nvGraphicFramePr>
        <p:xfrm>
          <a:off x="152400" y="770810"/>
          <a:ext cx="8867775" cy="4239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446107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00100" y="186035"/>
            <a:ext cx="714374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ределение расходов областного бюджета </a:t>
            </a:r>
            <a:endParaRPr lang="ru-RU" sz="1600" b="1" i="1" dirty="0" smtClean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ctr"/>
            <a:r>
              <a:rPr lang="ru-RU" sz="16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16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ункциональной структуре в </a:t>
            </a:r>
            <a:r>
              <a:rPr lang="ru-RU" sz="16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6 году, млн руб.</a:t>
            </a:r>
            <a:endParaRPr lang="ru-RU" sz="1600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33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275" y="774558"/>
            <a:ext cx="7096125" cy="4138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33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837" y="4236033"/>
            <a:ext cx="2744064" cy="671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736005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5159" y="302758"/>
            <a:ext cx="8894066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фицит бюджета области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на 1 марта 2016 года составил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,3 млрд руб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(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т налоговых и неналоговых доходов областного бюджета) или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2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от плана 2016 года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006574"/>
              </p:ext>
            </p:extLst>
          </p:nvPr>
        </p:nvGraphicFramePr>
        <p:xfrm>
          <a:off x="1082230" y="1247775"/>
          <a:ext cx="7019924" cy="3381377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4192060"/>
                <a:gridCol w="1193671"/>
                <a:gridCol w="1634193"/>
              </a:tblGrid>
              <a:tr h="69718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точники финансирования дефицита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юджета области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лан 2015 г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2016 г.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</a:tr>
              <a:tr h="3840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нные бумаги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0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000,00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</a:tr>
              <a:tr h="3840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ы кредитных организаций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315,60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466,20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</a:tr>
              <a:tr h="3840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юджетные кредиты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393,60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93,70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</a:tr>
              <a:tr h="3840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менение остатков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460,60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0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</a:tr>
              <a:tr h="7638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ые источники финансирования дефицита бюджета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750,20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40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/>
                </a:tc>
              </a:tr>
              <a:tr h="38406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 419,50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 373,90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49654" marR="49654" marT="0" marB="0" anchor="ctr">
                    <a:solidFill>
                      <a:srgbClr val="CCFFFF"/>
                    </a:solidFill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7343775" y="910709"/>
            <a:ext cx="8953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млн</a:t>
            </a:r>
            <a:r>
              <a:rPr lang="ru-RU" dirty="0" smtClean="0"/>
              <a:t> </a:t>
            </a:r>
            <a:r>
              <a:rPr lang="ru-RU" sz="1200" dirty="0" smtClean="0"/>
              <a:t>руб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622128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6360226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1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4491" y="319057"/>
            <a:ext cx="8942833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 последние 2 года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сударственный долг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ркутской области вырос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7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нце 2013 года он составлял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,1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лрд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8801031"/>
              </p:ext>
            </p:extLst>
          </p:nvPr>
        </p:nvGraphicFramePr>
        <p:xfrm>
          <a:off x="228599" y="1209675"/>
          <a:ext cx="4343401" cy="3352800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2772598"/>
                <a:gridCol w="746081"/>
                <a:gridCol w="824722"/>
              </a:tblGrid>
              <a:tr h="101037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уктура государственного долга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1 января 2015 г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1 января 2016 г.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</a:tr>
              <a:tr h="4487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нные бумаг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</a:tr>
              <a:tr h="4981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едиты коммерческих банков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885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 828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</a:tr>
              <a:tr h="4487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юджетные кредиты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883,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289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</a:tr>
              <a:tr h="4487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ударственные гарантии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/>
                </a:tc>
              </a:tr>
              <a:tr h="4981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того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 768,1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 117,0</a:t>
                      </a:r>
                      <a:endParaRPr lang="ru-RU" sz="1400" b="1" dirty="0">
                        <a:effectLst/>
                        <a:latin typeface="Times New Roman" panose="02020603050405020304" pitchFamily="18" charset="0"/>
                        <a:ea typeface="Times New Roman"/>
                        <a:cs typeface="Times New Roman" panose="02020603050405020304" pitchFamily="18" charset="0"/>
                      </a:endParaRPr>
                    </a:p>
                  </a:txBody>
                  <a:tcPr marL="55712" marR="55712" marT="0" marB="0" anchor="ctr">
                    <a:solidFill>
                      <a:srgbClr val="CC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653684"/>
              </p:ext>
            </p:extLst>
          </p:nvPr>
        </p:nvGraphicFramePr>
        <p:xfrm>
          <a:off x="4770884" y="1323975"/>
          <a:ext cx="4238624" cy="3381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887892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418077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682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-101600" y="201817"/>
            <a:ext cx="9245600" cy="49244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АТКАЯ ХАРАКТЕРИСТИКА СОЦИАЛЬНО-ЭКОНОМИЧЕСКОЙ </a:t>
            </a: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И</a:t>
            </a:r>
            <a:b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РОССИИ</a:t>
            </a:r>
            <a:endParaRPr lang="ru-RU" sz="16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145164" y="705464"/>
            <a:ext cx="8924925" cy="0"/>
          </a:xfrm>
          <a:prstGeom prst="line">
            <a:avLst/>
          </a:prstGeom>
          <a:noFill/>
          <a:ln w="25400" cmpd="sng">
            <a:solidFill>
              <a:schemeClr val="tx2">
                <a:lumMod val="90000"/>
                <a:lumOff val="1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45164" y="793672"/>
            <a:ext cx="8924925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о итогам 2015 г. ВВП снизился на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,7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к предыдущему году. В декабре, по данным Минэкономразвития России, снижение составило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,5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годовой оценке. 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5163" y="1378447"/>
            <a:ext cx="8924925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декс физического объёма ВВП </a:t>
            </a:r>
            <a:r>
              <a:rPr lang="ru-RU" sz="1600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оянных ценах</a:t>
            </a:r>
            <a:r>
              <a:rPr lang="ru-RU" sz="1600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</a:p>
          <a:p>
            <a:pPr algn="ctr"/>
            <a:r>
              <a:rPr lang="ru-RU" sz="1600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к </a:t>
            </a:r>
            <a:r>
              <a:rPr lang="ru-RU" sz="1600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ющему периоду 2015 г.</a:t>
            </a:r>
          </a:p>
          <a:p>
            <a:pPr algn="just"/>
            <a:endParaRPr lang="ru-RU" sz="1400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89449" y="4903011"/>
            <a:ext cx="38426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: расчеты Минэкономразвития России </a:t>
            </a:r>
            <a:endParaRPr lang="ru-RU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9510009"/>
              </p:ext>
            </p:extLst>
          </p:nvPr>
        </p:nvGraphicFramePr>
        <p:xfrm>
          <a:off x="1371865" y="2038350"/>
          <a:ext cx="6438900" cy="26169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66921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45160" y="232386"/>
            <a:ext cx="8894066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5160" y="614520"/>
            <a:ext cx="8894066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ъем работ, выполненных по виду деятельности «строительство»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в 2015 году составил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0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по отношению к 2014 году.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65244656"/>
              </p:ext>
            </p:extLst>
          </p:nvPr>
        </p:nvGraphicFramePr>
        <p:xfrm>
          <a:off x="1001268" y="1467635"/>
          <a:ext cx="6933057" cy="31019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1871825" y="4777120"/>
            <a:ext cx="542925" cy="61912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4032598" y="4808076"/>
            <a:ext cx="559595" cy="0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" name="TextBox 8"/>
          <p:cNvSpPr txBox="1"/>
          <p:nvPr/>
        </p:nvSpPr>
        <p:spPr>
          <a:xfrm>
            <a:off x="2414750" y="4677271"/>
            <a:ext cx="10951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его, млн руб.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592193" y="4569549"/>
            <a:ext cx="1673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 душу населения, руб</a:t>
            </a:r>
            <a:r>
              <a:rPr lang="ru-RU" dirty="0" smtClean="0"/>
              <a:t>.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142999" y="1199295"/>
            <a:ext cx="732472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выполненных работ по виду деятельности «строительство» по субъектам СФО</a:t>
            </a:r>
            <a:endParaRPr lang="ru-RU" sz="14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2466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45160" y="266253"/>
            <a:ext cx="880525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124967" y="714689"/>
            <a:ext cx="882544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 весь 2015 год в регионе возвели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64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ыс. кв. метров жилья, что н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 %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еньше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чем в 2014 году.</a:t>
            </a:r>
            <a:endParaRPr lang="ru-RU" sz="1600" dirty="0"/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83033529"/>
              </p:ext>
            </p:extLst>
          </p:nvPr>
        </p:nvGraphicFramePr>
        <p:xfrm>
          <a:off x="632441" y="1535906"/>
          <a:ext cx="7810500" cy="3176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1871825" y="4777120"/>
            <a:ext cx="542925" cy="61912"/>
          </a:xfrm>
          <a:prstGeom prst="rect">
            <a:avLst/>
          </a:prstGeom>
          <a:solidFill>
            <a:srgbClr val="00E0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4032598" y="4808076"/>
            <a:ext cx="559595" cy="0"/>
          </a:xfrm>
          <a:prstGeom prst="line">
            <a:avLst/>
          </a:prstGeom>
          <a:solidFill>
            <a:schemeClr val="accent1"/>
          </a:solidFill>
          <a:ln w="349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" name="TextBox 11"/>
          <p:cNvSpPr txBox="1"/>
          <p:nvPr/>
        </p:nvSpPr>
        <p:spPr>
          <a:xfrm>
            <a:off x="2414750" y="4677271"/>
            <a:ext cx="116089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его, тыс. кв. м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592193" y="4646315"/>
            <a:ext cx="153920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1000 жителей, кв. м</a:t>
            </a:r>
            <a:endParaRPr 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676752" y="1272159"/>
            <a:ext cx="57218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од в действие жилых домов</a:t>
            </a:r>
            <a:endParaRPr lang="ru-RU" sz="14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10353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5159" y="266253"/>
            <a:ext cx="880525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24967" y="714689"/>
            <a:ext cx="882544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2015 году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ство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дукции сельского хозяйства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Иркутской области составило </a:t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9,4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лрд руб. или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93,8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к 2014 году.</a:t>
            </a:r>
            <a:endParaRPr lang="ru-RU" sz="1600" dirty="0"/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1412079"/>
              </p:ext>
            </p:extLst>
          </p:nvPr>
        </p:nvGraphicFramePr>
        <p:xfrm>
          <a:off x="485373" y="1438275"/>
          <a:ext cx="8391927" cy="43688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Овал 5"/>
          <p:cNvSpPr/>
          <p:nvPr/>
        </p:nvSpPr>
        <p:spPr bwMode="auto">
          <a:xfrm>
            <a:off x="2452687" y="3724275"/>
            <a:ext cx="885825" cy="361950"/>
          </a:xfrm>
          <a:prstGeom prst="ellips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Овал 12"/>
          <p:cNvSpPr/>
          <p:nvPr/>
        </p:nvSpPr>
        <p:spPr bwMode="auto">
          <a:xfrm>
            <a:off x="1276350" y="3362325"/>
            <a:ext cx="885825" cy="361950"/>
          </a:xfrm>
          <a:prstGeom prst="ellips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Овал 13"/>
          <p:cNvSpPr/>
          <p:nvPr/>
        </p:nvSpPr>
        <p:spPr bwMode="auto">
          <a:xfrm>
            <a:off x="4695825" y="4019550"/>
            <a:ext cx="885825" cy="361950"/>
          </a:xfrm>
          <a:prstGeom prst="ellips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Овал 14"/>
          <p:cNvSpPr/>
          <p:nvPr/>
        </p:nvSpPr>
        <p:spPr bwMode="auto">
          <a:xfrm>
            <a:off x="3505200" y="4305300"/>
            <a:ext cx="885825" cy="361950"/>
          </a:xfrm>
          <a:prstGeom prst="ellips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Овал 15"/>
          <p:cNvSpPr/>
          <p:nvPr/>
        </p:nvSpPr>
        <p:spPr bwMode="auto">
          <a:xfrm>
            <a:off x="5772150" y="4305300"/>
            <a:ext cx="885825" cy="361950"/>
          </a:xfrm>
          <a:prstGeom prst="ellips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Овал 16"/>
          <p:cNvSpPr/>
          <p:nvPr/>
        </p:nvSpPr>
        <p:spPr bwMode="auto">
          <a:xfrm>
            <a:off x="6877049" y="3000375"/>
            <a:ext cx="885825" cy="361950"/>
          </a:xfrm>
          <a:prstGeom prst="ellipse">
            <a:avLst/>
          </a:prstGeom>
          <a:noFill/>
          <a:ln w="158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686847" y="1323753"/>
            <a:ext cx="57218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ъем продукции сельского хозяйства</a:t>
            </a:r>
            <a:endParaRPr lang="ru-RU" sz="14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83947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5159" y="266253"/>
            <a:ext cx="880525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5159" y="614645"/>
            <a:ext cx="882544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ность кормами на 1 марта 2016 г. на четверть ниже, чем в прошлом году– по 6 центнеров кормовых единиц на условную голову, против 8 центнеров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515396" y="1180148"/>
            <a:ext cx="635225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кормов в расчете на одну условную </a:t>
            </a:r>
            <a:r>
              <a:rPr lang="ru-RU" sz="14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лову на 1 марта 2016 года, центнеров кормовых единиц</a:t>
            </a:r>
            <a:endParaRPr lang="ru-RU" sz="14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Диаграмма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8761187"/>
              </p:ext>
            </p:extLst>
          </p:nvPr>
        </p:nvGraphicFramePr>
        <p:xfrm>
          <a:off x="762169" y="1631531"/>
          <a:ext cx="7819855" cy="3295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3988891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5159" y="266253"/>
            <a:ext cx="880525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5062" y="714688"/>
            <a:ext cx="882544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</a:t>
            </a:r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зарегистрированных безработн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1 марта 2016 года составила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8 285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,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общей безработицы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Иркутской области в среднем за 2015 год составил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8,2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dirty="0"/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3248156944"/>
              </p:ext>
            </p:extLst>
          </p:nvPr>
        </p:nvGraphicFramePr>
        <p:xfrm>
          <a:off x="145159" y="1375663"/>
          <a:ext cx="8815351" cy="35744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723810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5159" y="266253"/>
            <a:ext cx="880525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35062" y="635584"/>
            <a:ext cx="8825448" cy="523220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уммарная задолженность по заработной плате на 1 марта 2016 года составила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87,3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млн рублей, что в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ru-RU" sz="1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а больше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чем в январе 2016 года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9" name="Объект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89910314"/>
              </p:ext>
            </p:extLst>
          </p:nvPr>
        </p:nvGraphicFramePr>
        <p:xfrm>
          <a:off x="466725" y="1038225"/>
          <a:ext cx="8020050" cy="40213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69" name="Диаграмма" r:id="rId3" imgW="7734367" imgH="4162437" progId="MSGraph.Chart.8">
                  <p:embed/>
                </p:oleObj>
              </mc:Choice>
              <mc:Fallback>
                <p:oleObj name="Диаграмма" r:id="rId3" imgW="7734367" imgH="4162437" progId="MSGraph.Chart.8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6725" y="1038225"/>
                        <a:ext cx="8020050" cy="40213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17882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5159" y="266253"/>
            <a:ext cx="880525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га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45159" y="760448"/>
            <a:ext cx="8825448" cy="1077218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 12 месяцев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были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регион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61 626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,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ехали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67 740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миграционные потери –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6 114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. За 2015 год в Иркутск на постоянное жительство прибыло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7 026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еловек, выбыло –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6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49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миграционная прибыль населения составил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77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человек.  По сравнению с предыдущим годом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исло прибывших сократилось н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3,6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бывших увеличилось н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5,2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68920825"/>
              </p:ext>
            </p:extLst>
          </p:nvPr>
        </p:nvGraphicFramePr>
        <p:xfrm>
          <a:off x="352425" y="2015728"/>
          <a:ext cx="8162925" cy="28229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Правая фигурная скобка 4"/>
          <p:cNvSpPr/>
          <p:nvPr/>
        </p:nvSpPr>
        <p:spPr bwMode="auto">
          <a:xfrm>
            <a:off x="3652837" y="2343150"/>
            <a:ext cx="409576" cy="1123949"/>
          </a:xfrm>
          <a:prstGeom prst="rightBrace">
            <a:avLst/>
          </a:prstGeom>
          <a:noFill/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Правая фигурная скобка 5"/>
          <p:cNvSpPr/>
          <p:nvPr/>
        </p:nvSpPr>
        <p:spPr bwMode="auto">
          <a:xfrm>
            <a:off x="7219949" y="2714625"/>
            <a:ext cx="409576" cy="962025"/>
          </a:xfrm>
          <a:prstGeom prst="rightBrace">
            <a:avLst/>
          </a:prstGeom>
          <a:noFill/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26706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35062" y="247963"/>
            <a:ext cx="8825448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смотря на влияние негативных экономических явлений, в Иркутской области есть точки возможного роста экономики: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35062" y="1185386"/>
            <a:ext cx="8825448" cy="39395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крупных федеральных проектов, таких как строительство газопровода «Сила Сибири», реконструкция Транссибирской и Байкало-Амурской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агистралей</a:t>
            </a:r>
          </a:p>
          <a:p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ализация программы создания российского </a:t>
            </a:r>
            <a:r>
              <a:rPr lang="ru-RU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спективного гражданского самолета </a:t>
            </a:r>
            <a:r>
              <a:rPr lang="ru-RU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-21 на базе Иркутского авиационного завод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</a:t>
            </a:r>
            <a:r>
              <a:rPr lang="ru-RU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нвестпроектов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: «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роительство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Тайшетско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нодной фабрики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»,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Строительство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горно-металлургического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бината на базе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Зашихинского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едкометального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есторождения производительностью 1 миллион тонн руды в год» </a:t>
            </a: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здание </a:t>
            </a:r>
            <a:r>
              <a:rPr lang="ru-RU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Иркутской области одного из крупнейших в Азии центров обработки данных (ЦОД) и сопутствующей инфраструктуры</a:t>
            </a:r>
          </a:p>
          <a:p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438820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8483" y="215776"/>
            <a:ext cx="8979791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настоящее время основными задачами деятельности органов МСУ являются: </a:t>
            </a:r>
            <a:endParaRPr lang="ru-RU" sz="1600" dirty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8483" y="647700"/>
            <a:ext cx="897979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крепление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ово-экономической основы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местного самоуправления,      совершенствование межбюджетных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ношений,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сурсное обеспечение полномочий 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ов  местног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амоуправления</a:t>
            </a:r>
          </a:p>
          <a:p>
            <a:pPr algn="just"/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квалифицированного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отворчества на местном уровне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solidFill>
                <a:schemeClr val="accent5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дупреждение и противодействие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ррупции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ая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социально-экономического развития муниципальных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й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держка и развитие малого и среднег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едпринимательства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инвестиционной привлекательности муниципальных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й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муниципальных образований Иркутской области в государственных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х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598221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8483" y="215776"/>
            <a:ext cx="8979791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настоящее время основными задачами деятельности органов МСУ являются: </a:t>
            </a:r>
            <a:endParaRPr lang="ru-RU" sz="1600" dirty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8483" y="819150"/>
            <a:ext cx="8979791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ведение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ы, направленной на сокращение миграции населения. Обеспечение и совершенствование кадровой политики в муниципальных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ованиях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шение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просов, касающихся кадрового обеспечения органов местного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управления</a:t>
            </a:r>
            <a:endParaRPr lang="ru-RU" sz="1700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ой стратегии действий в интересах детей на 2012 – 2017 годы, утвержденной Указом Президента Российской Федерации от 1 июня 2012 года №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761</a:t>
            </a:r>
          </a:p>
          <a:p>
            <a:pPr algn="just"/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уществление </a:t>
            </a: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ффективного взаимодействия органов государственной власти и органов местного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управления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ститутов гражданского общества, поддержка и развитие форм взаимодействия, направленных на вовлечение граждан в решение вопросов местного значения, осуществление общественного </a:t>
            </a:r>
            <a:r>
              <a:rPr lang="ru-RU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я</a:t>
            </a:r>
            <a:r>
              <a:rPr lang="ru-RU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endParaRPr lang="ru-RU" sz="17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7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межнационального мира и согласия на территории Иркутской </a:t>
            </a:r>
            <a:r>
              <a:rPr lang="ru-RU" sz="17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</a:t>
            </a:r>
            <a:endParaRPr lang="ru-RU" sz="1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052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8584114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784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-101600" y="201817"/>
            <a:ext cx="9245600" cy="49244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АТКАЯ ХАРАКТЕРИСТИКА СОЦИАЛЬНО-ЭКОНОМИЧЕСКОЙ </a:t>
            </a: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И</a:t>
            </a:r>
            <a:b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РОССИИ</a:t>
            </a:r>
            <a:endParaRPr lang="ru-RU" sz="16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145163" y="698559"/>
            <a:ext cx="8924925" cy="0"/>
          </a:xfrm>
          <a:prstGeom prst="line">
            <a:avLst/>
          </a:prstGeom>
          <a:noFill/>
          <a:ln w="25400" cmpd="sng">
            <a:solidFill>
              <a:schemeClr val="tx2">
                <a:lumMod val="90000"/>
                <a:lumOff val="1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45163" y="818839"/>
            <a:ext cx="8924926" cy="58477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январе-феврале 2016 года цена на нефть составил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9,5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долл. США за баррель, снизившись по сравнению с соответствующим периодом прошлого года н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43,1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.</a:t>
            </a:r>
            <a:endParaRPr lang="ru-RU" sz="16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433130" y="4903462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: Банк России, информационные агентства 	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46834" y="1509921"/>
            <a:ext cx="386079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1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экспорта товаров и мировых цен на нефть </a:t>
            </a:r>
            <a:r>
              <a:rPr lang="en-US" sz="11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rals </a:t>
            </a:r>
            <a:r>
              <a:rPr lang="ru-RU" sz="11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1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нварь 2010 г. - </a:t>
            </a:r>
            <a:r>
              <a:rPr lang="ru-RU" sz="1100" b="1" i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кабрь </a:t>
            </a:r>
            <a:r>
              <a:rPr lang="ru-RU" sz="1100" b="1" i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5 г.) </a:t>
            </a:r>
            <a:r>
              <a:rPr lang="ru-RU" sz="1100" b="1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 algn="just"/>
            <a:endParaRPr lang="ru-RU" sz="11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286000" y="211008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/>
              <a:t>	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433130" y="1509921"/>
            <a:ext cx="345440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100" b="1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намика мировых цен на </a:t>
            </a:r>
            <a:r>
              <a:rPr lang="ru-RU" sz="1100" b="1" dirty="0" smtClean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ь, никель </a:t>
            </a:r>
            <a:r>
              <a:rPr lang="ru-RU" sz="1100" b="1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алюминий </a:t>
            </a:r>
            <a:r>
              <a:rPr lang="ru-RU" sz="1100" b="1" i="1" dirty="0" smtClean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100" b="1" i="1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долларах США за тонну) </a:t>
            </a:r>
            <a:endParaRPr lang="ru-RU" sz="1400" b="1" dirty="0">
              <a:solidFill>
                <a:schemeClr val="accent1">
                  <a:lumMod val="25000"/>
                </a:schemeClr>
              </a:solidFill>
            </a:endParaRPr>
          </a:p>
        </p:txBody>
      </p:sp>
      <p:pic>
        <p:nvPicPr>
          <p:cNvPr id="587796" name="Picture 2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997" y="1895184"/>
            <a:ext cx="4752563" cy="3083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7833" name="Picture 5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2742" y="1940808"/>
            <a:ext cx="3932651" cy="293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9993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343631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117464" y="2011079"/>
            <a:ext cx="690907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000" b="1" i="1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СПАСИБО ЗА ВНИМАНИЕ!</a:t>
            </a:r>
            <a:endParaRPr lang="ru-RU" sz="4000" b="1" i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877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413227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4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-101600" y="201817"/>
            <a:ext cx="9245600" cy="49244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АТКАЯ </a:t>
            </a: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ХАРАКТЕРИСТИКА СОЦИАЛЬНО-ЭКОНОМИЧЕСКОЙ СИТУАЦИИ</a:t>
            </a:r>
            <a:b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РОССИИ</a:t>
            </a:r>
            <a:endParaRPr lang="ru-RU" sz="16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145163" y="698559"/>
            <a:ext cx="8924925" cy="0"/>
          </a:xfrm>
          <a:prstGeom prst="line">
            <a:avLst/>
          </a:prstGeom>
          <a:noFill/>
          <a:ln w="25400" cmpd="sng">
            <a:solidFill>
              <a:schemeClr val="tx2">
                <a:lumMod val="90000"/>
                <a:lumOff val="1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45163" y="782197"/>
            <a:ext cx="8924925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инфляции в России (март 2015 - февраль 2016), 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86000" y="211008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/>
              <a:t>	</a:t>
            </a:r>
          </a:p>
        </p:txBody>
      </p:sp>
      <p:pic>
        <p:nvPicPr>
          <p:cNvPr id="606233" name="Picture 25" descr="C:\Users\BelyakovaMO\Desktop\inflation-chart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463" y="1320801"/>
            <a:ext cx="6670675" cy="3392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9109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238104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886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-101600" y="201817"/>
            <a:ext cx="9245600" cy="49244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cap="small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РАТКАЯ ХАРАКТЕРИСТИКА СОЦИАЛЬНО-ЭКОНОМИЧЕСКОЙ </a:t>
            </a: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ИТУАЦИИ</a:t>
            </a:r>
            <a:b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cap="small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В РОССИИ</a:t>
            </a:r>
            <a:endParaRPr lang="ru-RU" sz="16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175115" y="664479"/>
            <a:ext cx="8924925" cy="0"/>
          </a:xfrm>
          <a:prstGeom prst="line">
            <a:avLst/>
          </a:prstGeom>
          <a:noFill/>
          <a:ln w="25400" cmpd="sng">
            <a:solidFill>
              <a:schemeClr val="tx2">
                <a:lumMod val="90000"/>
                <a:lumOff val="1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75114" y="683138"/>
            <a:ext cx="8924926" cy="984885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целом за 2 месяца текущего года номинальная начисленная заработная плата, по оценке Росстата, составила 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2 825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блей (прирост относительно прошлого года –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5,5 %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,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льная заработная плата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носительно аналогичного периода прошлого года снизилась на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,1 </a:t>
            </a:r>
            <a:r>
              <a:rPr lang="ru-RU" sz="14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%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 январь-февраль 2016 г. снижение </a:t>
            </a: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альных располагаемых доходов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селения составило </a:t>
            </a:r>
            <a:r>
              <a:rPr lang="ru-RU" sz="14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6,7 %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 сравнению с аналогичным периодом прошлого года</a:t>
            </a:r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813249" y="4903011"/>
            <a:ext cx="38426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чник: расчеты </a:t>
            </a:r>
            <a:r>
              <a:rPr lang="ru-RU" sz="11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инэкономразвития </a:t>
            </a:r>
            <a:r>
              <a:rPr lang="ru-RU" sz="11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сии </a:t>
            </a:r>
            <a:endParaRPr lang="ru-RU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88862" name="Picture 6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2538" y="1668023"/>
            <a:ext cx="6533483" cy="32620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9670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9943227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988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2053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-101600" y="201817"/>
            <a:ext cx="9245600" cy="615553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20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риски для экономики Иркутской области:</a:t>
            </a:r>
            <a:br>
              <a:rPr lang="ru-RU" sz="20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sz="20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Line 1024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flipV="1">
            <a:off x="145163" y="698500"/>
            <a:ext cx="8924925" cy="0"/>
          </a:xfrm>
          <a:prstGeom prst="line">
            <a:avLst/>
          </a:prstGeom>
          <a:noFill/>
          <a:ln w="25400" cmpd="sng">
            <a:solidFill>
              <a:schemeClr val="tx2">
                <a:lumMod val="90000"/>
                <a:lumOff val="10000"/>
              </a:schemeClr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950" tIns="41475" rIns="82950" bIns="41475"/>
          <a:lstStyle/>
          <a:p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304801" y="917575"/>
            <a:ext cx="8387643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нижение </a:t>
            </a: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ственных показателей по отдельным отраслям </a:t>
            </a:r>
            <a:r>
              <a:rPr lang="ru-RU" sz="1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кономики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endParaRPr lang="ru-RU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900" dirty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ст потребительских </a:t>
            </a:r>
            <a:r>
              <a:rPr lang="ru-RU" sz="1900" dirty="0" smtClean="0">
                <a:solidFill>
                  <a:schemeClr val="accent1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 и тарифов, повышение уровня инфляции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endParaRPr lang="ru-RU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ост безработицы, снижение уровня жизни населения</a:t>
            </a:r>
          </a:p>
          <a:p>
            <a:pPr lvl="0" algn="just"/>
            <a:endParaRPr lang="ru-RU" sz="19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9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</a:t>
            </a:r>
            <a:r>
              <a:rPr lang="ru-RU" sz="19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т задолженности по заработной плате</a:t>
            </a: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endParaRPr lang="ru-RU" sz="1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исимость бюджетной системы региона от цен на сырьевые </a:t>
            </a:r>
            <a:r>
              <a:rPr lang="ru-RU" sz="19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вары</a:t>
            </a:r>
            <a:endParaRPr lang="en-US" sz="19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endParaRPr lang="en-US" sz="1900" dirty="0">
              <a:solidFill>
                <a:schemeClr val="accent1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lvl="0" indent="-285750" algn="just">
              <a:buFont typeface="Wingdings" panose="05000000000000000000" pitchFamily="2" charset="2"/>
              <a:buChar char="ü"/>
            </a:pPr>
            <a:r>
              <a:rPr lang="ru-RU" sz="19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сокий </a:t>
            </a:r>
            <a:r>
              <a:rPr lang="ru-RU" sz="1900" dirty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ранее принятых социальных и инвестиционных </a:t>
            </a:r>
            <a:r>
              <a:rPr lang="ru-RU" sz="1900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ств</a:t>
            </a:r>
            <a:endParaRPr lang="ru-RU" sz="1900" dirty="0">
              <a:solidFill>
                <a:schemeClr val="accent5">
                  <a:lumMod val="25000"/>
                </a:schemeClr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8351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867025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91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1582" y="257304"/>
            <a:ext cx="8945743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зи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31582" y="743732"/>
            <a:ext cx="8945743" cy="830997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предприятий и организаций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1 января 2015 г. составило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8,1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тыс. единиц. Что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,5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ыс. единиц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ил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6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,3 %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 больше, чем в 2014 году. Наибольше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число организаций сосредоточено в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орговле,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фере операций с недвижимым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муществом, строительстве. 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9775389"/>
              </p:ext>
            </p:extLst>
          </p:nvPr>
        </p:nvGraphicFramePr>
        <p:xfrm>
          <a:off x="304799" y="1574729"/>
          <a:ext cx="8524876" cy="34373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2641334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5025029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19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5163" y="246016"/>
            <a:ext cx="8913112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зи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45163" y="721050"/>
            <a:ext cx="8913112" cy="830997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pPr algn="just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декс промышленного производства в январе-феврале 2016 года по сравнению с январем-февралем 2015 года по полному кругу организаций составил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6,3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В России -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9,3 %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в СФО –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0,6 %. </a:t>
            </a:r>
            <a:endParaRPr lang="ru-RU" sz="1600" b="1" i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5992630"/>
              </p:ext>
            </p:extLst>
          </p:nvPr>
        </p:nvGraphicFramePr>
        <p:xfrm>
          <a:off x="642540" y="1702987"/>
          <a:ext cx="8127256" cy="3028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2938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Объект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7772837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29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1906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2813">
              <a:lnSpc>
                <a:spcPct val="90000"/>
              </a:lnSpc>
            </a:pPr>
            <a:endParaRPr kumimoji="0" lang="ru-RU" sz="12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sym typeface="Arial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5162" y="214971"/>
            <a:ext cx="8903588" cy="338554"/>
          </a:xfrm>
          <a:prstGeom prst="rect">
            <a:avLst/>
          </a:prstGeom>
          <a:solidFill>
            <a:schemeClr val="accent5"/>
          </a:solidFill>
        </p:spPr>
        <p:txBody>
          <a:bodyPr wrap="square" rtlCol="0" anchor="ctr" anchorCtr="0">
            <a:spAutoFit/>
          </a:bodyPr>
          <a:lstStyle/>
          <a:p>
            <a:r>
              <a:rPr lang="ru-RU" sz="1600" b="1" dirty="0" smtClean="0">
                <a:solidFill>
                  <a:schemeClr val="accent5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зитивные тенденции:</a:t>
            </a:r>
            <a:endParaRPr lang="ru-RU" sz="1600" b="1" dirty="0">
              <a:solidFill>
                <a:schemeClr val="accent5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dirty="0"/>
          </a:p>
        </p:txBody>
      </p:sp>
      <p:pic>
        <p:nvPicPr>
          <p:cNvPr id="592909" name="Диаграмма 1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35" t="-4453" r="-2179" b="-3020"/>
          <a:stretch>
            <a:fillRect/>
          </a:stretch>
        </p:blipFill>
        <p:spPr bwMode="auto">
          <a:xfrm>
            <a:off x="600075" y="629725"/>
            <a:ext cx="8039100" cy="427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205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3&quot;&gt;&lt;elem m_fUsage=&quot;7.41111236974464930000E+000&quot;&gt;&lt;m_ppcolschidx val=&quot;0&quot;/&gt;&lt;m_rgb r=&quot;b6&quot; g=&quot;fc&quot; b=&quot;a9&quot;/&gt;&lt;/elem&gt;&lt;elem m_fUsage=&quot;2.21581152386072230000E+000&quot;&gt;&lt;m_ppcolschidx val=&quot;0&quot;/&gt;&lt;m_rgb r=&quot;ef&quot; g=&quot;bf&quot; b=&quot;ba&quot;/&gt;&lt;/elem&gt;&lt;elem m_fUsage=&quot;1.22760555895306840000E-001&quot;&gt;&lt;m_ppcolschidx val=&quot;0&quot;/&gt;&lt;m_rgb r=&quot;e8&quot; g=&quot;a0&quot; b=&quot;99&quot;/&gt;&lt;/elem&gt;&lt;/m_vecMRU&gt;&lt;/m_mruColor&gt;&lt;m_mapectfillschemeMRU&gt;&lt;key val=&quot;0&quot;/&gt;&lt;elem&gt;&lt;m_nPartnerID val=&quot;530&quot;/&gt;&lt;m_nIndex val=&quot;3&quot;/&gt;&lt;/elem&gt;&lt;key val=&quot;1&quot;/&gt;&lt;elem&gt;&lt;m_nPartnerID val=&quot;530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1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0KJFEN90iedtgZunYx5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8nFrks.kC5W0dzjULtG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0KJFEN90iedtgZunYx5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8nFrks.kC5W0dzjULtG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0KJFEN90iedtgZunYx5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8nFrks.kC5W0dzjULt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0KJFEN90iedtgZunYx5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8nFrks.kC5W0dzjULtG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0KJFEN90iedtgZunYx5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8nFrks.kC5W0dzjULtG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KDWcGPlEi0A2zJoodo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heme/theme1.xml><?xml version="1.0" encoding="utf-8"?>
<a:theme xmlns:a="http://schemas.openxmlformats.org/drawingml/2006/main" name="13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8_Universal Template_RU">
  <a:themeElements>
    <a:clrScheme name="3_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3_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287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3_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224</TotalTime>
  <Words>1579</Words>
  <Application>Microsoft Office PowerPoint</Application>
  <PresentationFormat>Экран (16:9)</PresentationFormat>
  <Paragraphs>301</Paragraphs>
  <Slides>30</Slides>
  <Notes>17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0</vt:i4>
      </vt:variant>
    </vt:vector>
  </HeadingPairs>
  <TitlesOfParts>
    <vt:vector size="35" baseType="lpstr">
      <vt:lpstr>13_Universal Template_RU</vt:lpstr>
      <vt:lpstr>18_Universal Template_RU</vt:lpstr>
      <vt:lpstr>Специальное оформление</vt:lpstr>
      <vt:lpstr>think-cell Slide</vt:lpstr>
      <vt:lpstr>Диаграмма</vt:lpstr>
      <vt:lpstr>Презентация PowerPoint</vt:lpstr>
      <vt:lpstr>КРАТКАЯ ХАРАКТЕРИСТИКА СОЦИАЛЬНО-ЭКОНОМИЧЕСКОЙ СИТУАЦИИ  В РОССИИ</vt:lpstr>
      <vt:lpstr>КРАТКАЯ ХАРАКТЕРИСТИКА СОЦИАЛЬНО-ЭКОНОМИЧЕСКОЙ СИТУАЦИИ  В РОССИИ</vt:lpstr>
      <vt:lpstr>КРАТКАЯ ХАРАКТЕРИСТИКА СОЦИАЛЬНО-ЭКОНОМИЧЕСКОЙ СИТУАЦИИ  В РОССИИ</vt:lpstr>
      <vt:lpstr>КРАТКАЯ ХАРАКТЕРИСТИКА СОЦИАЛЬНО-ЭКОНОМИЧЕСКОЙ СИТУАЦИИ  В РОССИИ</vt:lpstr>
      <vt:lpstr>Основные риски для экономики Иркутской области: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ДИНАМИКА ПОСТУПЛЕНИЙ ДОХОДОВ В КОНСОЛИДИРОВАННЫЙ БЮДЖЕТ  ЗА 6 МЕСЯЦЕВ 2008-2009 ГГ.  (НЕЦЕЛЕВЫЕ ДОХОДЫ)</dc:title>
  <dc:creator>Шведов Е.В.</dc:creator>
  <cp:lastModifiedBy>Вергун Дарина Владимировна</cp:lastModifiedBy>
  <cp:revision>2697</cp:revision>
  <cp:lastPrinted>2015-11-19T04:54:41Z</cp:lastPrinted>
  <dcterms:created xsi:type="dcterms:W3CDTF">2009-08-17T06:59:56Z</dcterms:created>
  <dcterms:modified xsi:type="dcterms:W3CDTF">2016-04-26T02:39:19Z</dcterms:modified>
</cp:coreProperties>
</file>